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54" r:id="rId1"/>
  </p:sldMasterIdLst>
  <p:notesMasterIdLst>
    <p:notesMasterId r:id="rId27"/>
  </p:notesMasterIdLst>
  <p:handoutMasterIdLst>
    <p:handoutMasterId r:id="rId28"/>
  </p:handoutMasterIdLst>
  <p:sldIdLst>
    <p:sldId id="261" r:id="rId2"/>
    <p:sldId id="409" r:id="rId3"/>
    <p:sldId id="419" r:id="rId4"/>
    <p:sldId id="411" r:id="rId5"/>
    <p:sldId id="412" r:id="rId6"/>
    <p:sldId id="413" r:id="rId7"/>
    <p:sldId id="414" r:id="rId8"/>
    <p:sldId id="415" r:id="rId9"/>
    <p:sldId id="416" r:id="rId10"/>
    <p:sldId id="417" r:id="rId11"/>
    <p:sldId id="418" r:id="rId12"/>
    <p:sldId id="410" r:id="rId13"/>
    <p:sldId id="429" r:id="rId14"/>
    <p:sldId id="420" r:id="rId15"/>
    <p:sldId id="421" r:id="rId16"/>
    <p:sldId id="422" r:id="rId17"/>
    <p:sldId id="423" r:id="rId18"/>
    <p:sldId id="424" r:id="rId19"/>
    <p:sldId id="425" r:id="rId20"/>
    <p:sldId id="427" r:id="rId21"/>
    <p:sldId id="428" r:id="rId22"/>
    <p:sldId id="431" r:id="rId23"/>
    <p:sldId id="432" r:id="rId24"/>
    <p:sldId id="430" r:id="rId25"/>
    <p:sldId id="433" r:id="rId26"/>
  </p:sldIdLst>
  <p:sldSz cx="9144000" cy="5715000" type="screen16x10"/>
  <p:notesSz cx="6811963" cy="9942513"/>
  <p:custDataLst>
    <p:tags r:id="rId29"/>
  </p:custDataLst>
  <p:defaultTextStyle>
    <a:defPPr>
      <a:defRPr lang="en-GB"/>
    </a:defPPr>
    <a:lvl1pPr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66"/>
    <a:srgbClr val="003399"/>
    <a:srgbClr val="5C8E26"/>
    <a:srgbClr val="525252"/>
    <a:srgbClr val="4D4D4D"/>
    <a:srgbClr val="000000"/>
    <a:srgbClr val="AEB0B2"/>
    <a:srgbClr val="AEDAE6"/>
    <a:srgbClr val="CCECFF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82" autoAdjust="0"/>
    <p:restoredTop sz="97070" autoAdjust="0"/>
  </p:normalViewPr>
  <p:slideViewPr>
    <p:cSldViewPr>
      <p:cViewPr>
        <p:scale>
          <a:sx n="125" d="100"/>
          <a:sy n="125" d="100"/>
        </p:scale>
        <p:origin x="-72" y="-72"/>
      </p:cViewPr>
      <p:guideLst>
        <p:guide orient="horz" pos="1989"/>
        <p:guide orient="horz" pos="328"/>
        <p:guide orient="horz" pos="3426"/>
        <p:guide orient="horz" pos="818"/>
        <p:guide pos="2880"/>
        <p:guide pos="1247"/>
        <p:guide pos="5647"/>
        <p:guide pos="11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52" d="100"/>
          <a:sy n="52" d="100"/>
        </p:scale>
        <p:origin x="-2640" y="-102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92BAD2-26DB-4DC3-8231-94A720AD8575}" type="doc">
      <dgm:prSet loTypeId="urn:microsoft.com/office/officeart/2008/layout/HorizontalMultiLevelHierarchy" loCatId="hierarchy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FF8BFFC2-8932-4DAD-A2F4-166D324F4030}">
      <dgm:prSet phldrT="[Text]"/>
      <dgm:spPr/>
      <dgm:t>
        <a:bodyPr/>
        <a:lstStyle/>
        <a:p>
          <a:r>
            <a:rPr lang="de-AT" dirty="0" smtClean="0"/>
            <a:t>smart™ AIM</a:t>
          </a:r>
          <a:endParaRPr lang="en-GB" dirty="0"/>
        </a:p>
      </dgm:t>
    </dgm:pt>
    <dgm:pt modelId="{DD26E6F7-3D94-4354-B723-A5007A8731F0}" type="parTrans" cxnId="{FF6CBBD0-E9B9-4EA8-9877-6988646C0558}">
      <dgm:prSet/>
      <dgm:spPr/>
      <dgm:t>
        <a:bodyPr/>
        <a:lstStyle/>
        <a:p>
          <a:endParaRPr lang="en-GB"/>
        </a:p>
      </dgm:t>
    </dgm:pt>
    <dgm:pt modelId="{97651922-0919-4627-ABF5-79FCFFD0FDA2}" type="sibTrans" cxnId="{FF6CBBD0-E9B9-4EA8-9877-6988646C0558}">
      <dgm:prSet/>
      <dgm:spPr/>
      <dgm:t>
        <a:bodyPr/>
        <a:lstStyle/>
        <a:p>
          <a:endParaRPr lang="en-GB"/>
        </a:p>
      </dgm:t>
    </dgm:pt>
    <dgm:pt modelId="{0D699952-452A-43DC-8A2A-10789397BA53}">
      <dgm:prSet phldrT="[Text]"/>
      <dgm:spPr/>
      <dgm:t>
        <a:bodyPr/>
        <a:lstStyle/>
        <a:p>
          <a:r>
            <a:rPr lang="de-AT" dirty="0" smtClean="0"/>
            <a:t>Short Term Information</a:t>
          </a:r>
          <a:endParaRPr lang="en-GB" dirty="0"/>
        </a:p>
      </dgm:t>
    </dgm:pt>
    <dgm:pt modelId="{1D7A899A-1AD4-4B3D-8EF3-671D0C46549E}" type="parTrans" cxnId="{507BA925-63A3-464C-88AD-98D5BB3C2558}">
      <dgm:prSet/>
      <dgm:spPr/>
      <dgm:t>
        <a:bodyPr/>
        <a:lstStyle/>
        <a:p>
          <a:endParaRPr lang="en-GB"/>
        </a:p>
      </dgm:t>
    </dgm:pt>
    <dgm:pt modelId="{E9C40B43-97B6-40AB-99DE-1C1623A840A7}" type="sibTrans" cxnId="{507BA925-63A3-464C-88AD-98D5BB3C2558}">
      <dgm:prSet/>
      <dgm:spPr/>
      <dgm:t>
        <a:bodyPr/>
        <a:lstStyle/>
        <a:p>
          <a:endParaRPr lang="en-GB"/>
        </a:p>
      </dgm:t>
    </dgm:pt>
    <dgm:pt modelId="{43FEB39D-726D-4CE3-9FB8-495198D8C367}">
      <dgm:prSet phldrT="[Text]"/>
      <dgm:spPr/>
      <dgm:t>
        <a:bodyPr/>
        <a:lstStyle/>
        <a:p>
          <a:r>
            <a:rPr lang="de-AT" dirty="0" smtClean="0"/>
            <a:t>(digital) NOTAM</a:t>
          </a:r>
          <a:br>
            <a:rPr lang="de-AT" dirty="0" smtClean="0"/>
          </a:br>
          <a:r>
            <a:rPr lang="de-AT" dirty="0" smtClean="0"/>
            <a:t>AIXM</a:t>
          </a:r>
          <a:endParaRPr lang="en-GB" dirty="0"/>
        </a:p>
      </dgm:t>
    </dgm:pt>
    <dgm:pt modelId="{03257A50-CA63-4ED1-B383-04E23EE7A061}" type="parTrans" cxnId="{DAFDA04F-F855-45D6-A561-8366B39C21E6}">
      <dgm:prSet/>
      <dgm:spPr/>
      <dgm:t>
        <a:bodyPr/>
        <a:lstStyle/>
        <a:p>
          <a:endParaRPr lang="en-GB"/>
        </a:p>
      </dgm:t>
    </dgm:pt>
    <dgm:pt modelId="{E65C008F-3E90-4441-AD9D-4835FF6DDA12}" type="sibTrans" cxnId="{DAFDA04F-F855-45D6-A561-8366B39C21E6}">
      <dgm:prSet/>
      <dgm:spPr/>
      <dgm:t>
        <a:bodyPr/>
        <a:lstStyle/>
        <a:p>
          <a:endParaRPr lang="en-GB"/>
        </a:p>
      </dgm:t>
    </dgm:pt>
    <dgm:pt modelId="{B8ED3751-3F93-4CA5-AC11-2A52179FE4AA}">
      <dgm:prSet phldrT="[Text]"/>
      <dgm:spPr/>
      <dgm:t>
        <a:bodyPr/>
        <a:lstStyle/>
        <a:p>
          <a:r>
            <a:rPr lang="de-AT" dirty="0" smtClean="0"/>
            <a:t>(digital) </a:t>
          </a:r>
          <a:r>
            <a:rPr lang="de-AT" dirty="0" err="1" smtClean="0"/>
            <a:t>Weather</a:t>
          </a:r>
          <a:r>
            <a:rPr lang="de-AT" dirty="0" smtClean="0"/>
            <a:t/>
          </a:r>
          <a:br>
            <a:rPr lang="de-AT" dirty="0" smtClean="0"/>
          </a:br>
          <a:r>
            <a:rPr lang="de-AT" dirty="0" smtClean="0"/>
            <a:t>WXXM</a:t>
          </a:r>
        </a:p>
      </dgm:t>
    </dgm:pt>
    <dgm:pt modelId="{B2623657-F3FF-4A16-8A2C-C21B0A14C221}" type="parTrans" cxnId="{C5CE1BD5-D0FD-41F1-9FE7-6A74482EFE64}">
      <dgm:prSet/>
      <dgm:spPr/>
      <dgm:t>
        <a:bodyPr/>
        <a:lstStyle/>
        <a:p>
          <a:endParaRPr lang="en-GB"/>
        </a:p>
      </dgm:t>
    </dgm:pt>
    <dgm:pt modelId="{DDDA07E9-E945-4039-8E75-01133166B050}" type="sibTrans" cxnId="{C5CE1BD5-D0FD-41F1-9FE7-6A74482EFE64}">
      <dgm:prSet/>
      <dgm:spPr/>
      <dgm:t>
        <a:bodyPr/>
        <a:lstStyle/>
        <a:p>
          <a:endParaRPr lang="en-GB"/>
        </a:p>
      </dgm:t>
    </dgm:pt>
    <dgm:pt modelId="{FE864D7C-D88F-47CF-AB2D-1BB782F0F8C5}">
      <dgm:prSet phldrT="[Text]"/>
      <dgm:spPr/>
      <dgm:t>
        <a:bodyPr/>
        <a:lstStyle/>
        <a:p>
          <a:r>
            <a:rPr lang="de-AT" dirty="0" smtClean="0"/>
            <a:t>Long Term Information</a:t>
          </a:r>
          <a:endParaRPr lang="en-GB" dirty="0"/>
        </a:p>
      </dgm:t>
    </dgm:pt>
    <dgm:pt modelId="{52BFC127-4197-4DFC-B1F6-A5FF2A1BE7EE}" type="parTrans" cxnId="{88973106-2C7C-4B05-9360-C275673E405C}">
      <dgm:prSet/>
      <dgm:spPr/>
      <dgm:t>
        <a:bodyPr/>
        <a:lstStyle/>
        <a:p>
          <a:endParaRPr lang="en-GB"/>
        </a:p>
      </dgm:t>
    </dgm:pt>
    <dgm:pt modelId="{C9B28B92-EBB9-451A-8A0A-4517CF0863DF}" type="sibTrans" cxnId="{88973106-2C7C-4B05-9360-C275673E405C}">
      <dgm:prSet/>
      <dgm:spPr/>
      <dgm:t>
        <a:bodyPr/>
        <a:lstStyle/>
        <a:p>
          <a:endParaRPr lang="en-GB"/>
        </a:p>
      </dgm:t>
    </dgm:pt>
    <dgm:pt modelId="{EA23B32D-0740-47A5-88F1-BB0A47C3CD29}">
      <dgm:prSet phldrT="[Text]"/>
      <dgm:spPr/>
      <dgm:t>
        <a:bodyPr/>
        <a:lstStyle/>
        <a:p>
          <a:r>
            <a:rPr lang="de-AT" dirty="0" smtClean="0"/>
            <a:t>Publications</a:t>
          </a:r>
          <a:endParaRPr lang="en-GB" dirty="0"/>
        </a:p>
      </dgm:t>
    </dgm:pt>
    <dgm:pt modelId="{9FC8F638-6CF3-4E9C-93D9-73FC3F4B755D}" type="parTrans" cxnId="{7CD38ECE-9302-48CF-9C75-9DEBFB9F1286}">
      <dgm:prSet/>
      <dgm:spPr/>
      <dgm:t>
        <a:bodyPr/>
        <a:lstStyle/>
        <a:p>
          <a:endParaRPr lang="en-GB"/>
        </a:p>
      </dgm:t>
    </dgm:pt>
    <dgm:pt modelId="{DCEB4CE2-0F26-4D86-AE31-6FCF00B827E9}" type="sibTrans" cxnId="{7CD38ECE-9302-48CF-9C75-9DEBFB9F1286}">
      <dgm:prSet/>
      <dgm:spPr/>
      <dgm:t>
        <a:bodyPr/>
        <a:lstStyle/>
        <a:p>
          <a:endParaRPr lang="en-GB"/>
        </a:p>
      </dgm:t>
    </dgm:pt>
    <dgm:pt modelId="{DE8579FC-CEE2-4F8F-B8F9-EC89F3F9DC07}">
      <dgm:prSet phldrT="[Text]"/>
      <dgm:spPr/>
      <dgm:t>
        <a:bodyPr/>
        <a:lstStyle/>
        <a:p>
          <a:r>
            <a:rPr lang="de-AT" dirty="0" smtClean="0"/>
            <a:t>Communication</a:t>
          </a:r>
          <a:endParaRPr lang="en-GB" dirty="0"/>
        </a:p>
      </dgm:t>
    </dgm:pt>
    <dgm:pt modelId="{A789A981-B869-4131-B2B0-3B12484695F8}" type="parTrans" cxnId="{C2DA1B0C-3CCC-4CB1-A897-C0CE1C02635A}">
      <dgm:prSet/>
      <dgm:spPr/>
      <dgm:t>
        <a:bodyPr/>
        <a:lstStyle/>
        <a:p>
          <a:endParaRPr lang="en-GB"/>
        </a:p>
      </dgm:t>
    </dgm:pt>
    <dgm:pt modelId="{F3EC5F3C-5BE2-4169-81B4-D7CBC575D719}" type="sibTrans" cxnId="{C2DA1B0C-3CCC-4CB1-A897-C0CE1C02635A}">
      <dgm:prSet/>
      <dgm:spPr/>
      <dgm:t>
        <a:bodyPr/>
        <a:lstStyle/>
        <a:p>
          <a:endParaRPr lang="en-GB"/>
        </a:p>
      </dgm:t>
    </dgm:pt>
    <dgm:pt modelId="{3F04625A-638B-49DB-A49B-888BBD564084}">
      <dgm:prSet phldrT="[Text]"/>
      <dgm:spPr/>
      <dgm:t>
        <a:bodyPr/>
        <a:lstStyle/>
        <a:p>
          <a:r>
            <a:rPr lang="de-AT" dirty="0" smtClean="0"/>
            <a:t>(digital) Flight Plans FIXM</a:t>
          </a:r>
        </a:p>
      </dgm:t>
    </dgm:pt>
    <dgm:pt modelId="{07F248AC-644B-43ED-B6E8-CEA3877F3FA8}" type="parTrans" cxnId="{CFFD76D8-C32E-4367-A026-85BE64F2ACE2}">
      <dgm:prSet/>
      <dgm:spPr/>
      <dgm:t>
        <a:bodyPr/>
        <a:lstStyle/>
        <a:p>
          <a:endParaRPr lang="en-GB"/>
        </a:p>
      </dgm:t>
    </dgm:pt>
    <dgm:pt modelId="{A7FE1D42-D07F-402E-9CB3-4D9AA763AE53}" type="sibTrans" cxnId="{CFFD76D8-C32E-4367-A026-85BE64F2ACE2}">
      <dgm:prSet/>
      <dgm:spPr/>
      <dgm:t>
        <a:bodyPr/>
        <a:lstStyle/>
        <a:p>
          <a:endParaRPr lang="en-GB"/>
        </a:p>
      </dgm:t>
    </dgm:pt>
    <dgm:pt modelId="{408FC791-ACE9-4584-9D58-FFDA4E04529A}">
      <dgm:prSet phldrT="[Text]"/>
      <dgm:spPr/>
      <dgm:t>
        <a:bodyPr/>
        <a:lstStyle/>
        <a:p>
          <a:r>
            <a:rPr lang="de-AT" dirty="0" smtClean="0"/>
            <a:t>AIXM Information Management</a:t>
          </a:r>
        </a:p>
      </dgm:t>
    </dgm:pt>
    <dgm:pt modelId="{8EDE9927-9441-4D7B-B33F-3A06432054B9}" type="parTrans" cxnId="{D049FDDA-4083-474D-8AF9-BEDA77A2AD0E}">
      <dgm:prSet/>
      <dgm:spPr/>
      <dgm:t>
        <a:bodyPr/>
        <a:lstStyle/>
        <a:p>
          <a:endParaRPr lang="en-GB"/>
        </a:p>
      </dgm:t>
    </dgm:pt>
    <dgm:pt modelId="{8AB73A3A-454A-4DA5-91E6-93CD5EDEEE4C}" type="sibTrans" cxnId="{D049FDDA-4083-474D-8AF9-BEDA77A2AD0E}">
      <dgm:prSet/>
      <dgm:spPr/>
      <dgm:t>
        <a:bodyPr/>
        <a:lstStyle/>
        <a:p>
          <a:endParaRPr lang="en-GB"/>
        </a:p>
      </dgm:t>
    </dgm:pt>
    <dgm:pt modelId="{FB25B6DF-70F4-4B1F-B6DD-28A8A54B6C0D}">
      <dgm:prSet phldrT="[Text]"/>
      <dgm:spPr/>
      <dgm:t>
        <a:bodyPr/>
        <a:lstStyle/>
        <a:p>
          <a:r>
            <a:rPr lang="de-AT" dirty="0" smtClean="0"/>
            <a:t>Reporting</a:t>
          </a:r>
        </a:p>
      </dgm:t>
    </dgm:pt>
    <dgm:pt modelId="{709E93A7-E2FB-44F5-9720-A4E1146F9131}" type="parTrans" cxnId="{FB8F1943-E679-4D4B-AD71-97F0B9B9CB3F}">
      <dgm:prSet/>
      <dgm:spPr/>
      <dgm:t>
        <a:bodyPr/>
        <a:lstStyle/>
        <a:p>
          <a:endParaRPr lang="en-GB"/>
        </a:p>
      </dgm:t>
    </dgm:pt>
    <dgm:pt modelId="{326A1260-4A78-44E8-A1E6-A27BF30836C1}" type="sibTrans" cxnId="{FB8F1943-E679-4D4B-AD71-97F0B9B9CB3F}">
      <dgm:prSet/>
      <dgm:spPr/>
      <dgm:t>
        <a:bodyPr/>
        <a:lstStyle/>
        <a:p>
          <a:endParaRPr lang="en-GB"/>
        </a:p>
      </dgm:t>
    </dgm:pt>
    <dgm:pt modelId="{53313C4D-9A2F-4A60-8833-61D6052D4921}">
      <dgm:prSet phldrT="[Text]"/>
      <dgm:spPr/>
      <dgm:t>
        <a:bodyPr/>
        <a:lstStyle/>
        <a:p>
          <a:r>
            <a:rPr lang="de-AT" dirty="0" smtClean="0"/>
            <a:t>GIS</a:t>
          </a:r>
        </a:p>
      </dgm:t>
    </dgm:pt>
    <dgm:pt modelId="{6424C92E-0E28-4E48-A51C-9CB8EEB5B69E}" type="parTrans" cxnId="{35FEF8CD-AE1D-4D6F-8C5D-A44DDFCB4CAB}">
      <dgm:prSet/>
      <dgm:spPr/>
      <dgm:t>
        <a:bodyPr/>
        <a:lstStyle/>
        <a:p>
          <a:endParaRPr lang="en-GB"/>
        </a:p>
      </dgm:t>
    </dgm:pt>
    <dgm:pt modelId="{CD171996-F82C-4067-8B0E-AFD9480E69A7}" type="sibTrans" cxnId="{35FEF8CD-AE1D-4D6F-8C5D-A44DDFCB4CAB}">
      <dgm:prSet/>
      <dgm:spPr/>
      <dgm:t>
        <a:bodyPr/>
        <a:lstStyle/>
        <a:p>
          <a:endParaRPr lang="en-GB"/>
        </a:p>
      </dgm:t>
    </dgm:pt>
    <dgm:pt modelId="{46488CC1-FE34-4575-AFA2-A31FE44C18AF}">
      <dgm:prSet phldrT="[Text]"/>
      <dgm:spPr/>
      <dgm:t>
        <a:bodyPr/>
        <a:lstStyle/>
        <a:p>
          <a:r>
            <a:rPr lang="de-AT" dirty="0" smtClean="0"/>
            <a:t>AIP</a:t>
          </a:r>
          <a:endParaRPr lang="en-GB" dirty="0"/>
        </a:p>
      </dgm:t>
    </dgm:pt>
    <dgm:pt modelId="{2C1188E8-7512-4A69-AA12-724894289E7F}" type="parTrans" cxnId="{F5C4A05F-1EC4-4ABD-840A-37302289C3A1}">
      <dgm:prSet/>
      <dgm:spPr/>
      <dgm:t>
        <a:bodyPr/>
        <a:lstStyle/>
        <a:p>
          <a:endParaRPr lang="en-GB"/>
        </a:p>
      </dgm:t>
    </dgm:pt>
    <dgm:pt modelId="{5C1E4896-D25B-4BEA-8894-6A0910D6F796}" type="sibTrans" cxnId="{F5C4A05F-1EC4-4ABD-840A-37302289C3A1}">
      <dgm:prSet/>
      <dgm:spPr/>
      <dgm:t>
        <a:bodyPr/>
        <a:lstStyle/>
        <a:p>
          <a:endParaRPr lang="en-GB"/>
        </a:p>
      </dgm:t>
    </dgm:pt>
    <dgm:pt modelId="{40B1CD4F-15C8-4160-8BA8-35C0EFAACDB3}">
      <dgm:prSet phldrT="[Text]"/>
      <dgm:spPr/>
      <dgm:t>
        <a:bodyPr/>
        <a:lstStyle/>
        <a:p>
          <a:r>
            <a:rPr lang="de-AT" dirty="0" err="1" smtClean="0"/>
            <a:t>Charting</a:t>
          </a:r>
          <a:endParaRPr lang="en-GB" dirty="0"/>
        </a:p>
      </dgm:t>
    </dgm:pt>
    <dgm:pt modelId="{A3BF068A-8530-46DA-870D-1B2F1930E3A3}" type="parTrans" cxnId="{E186C2B5-28EF-4F1B-A7B5-946F0969DA87}">
      <dgm:prSet/>
      <dgm:spPr/>
      <dgm:t>
        <a:bodyPr/>
        <a:lstStyle/>
        <a:p>
          <a:endParaRPr lang="en-GB"/>
        </a:p>
      </dgm:t>
    </dgm:pt>
    <dgm:pt modelId="{F3822B95-7FAF-4E03-BD7D-3018294EE97A}" type="sibTrans" cxnId="{E186C2B5-28EF-4F1B-A7B5-946F0969DA87}">
      <dgm:prSet/>
      <dgm:spPr/>
      <dgm:t>
        <a:bodyPr/>
        <a:lstStyle/>
        <a:p>
          <a:endParaRPr lang="en-GB"/>
        </a:p>
      </dgm:t>
    </dgm:pt>
    <dgm:pt modelId="{1D70A45E-E06B-4C27-8E8A-248E81E9A762}">
      <dgm:prSet phldrT="[Text]"/>
      <dgm:spPr/>
      <dgm:t>
        <a:bodyPr/>
        <a:lstStyle/>
        <a:p>
          <a:r>
            <a:rPr lang="de-AT" dirty="0" err="1" smtClean="0"/>
            <a:t>Publication</a:t>
          </a:r>
          <a:r>
            <a:rPr lang="de-AT" dirty="0" smtClean="0"/>
            <a:t> Management</a:t>
          </a:r>
          <a:endParaRPr lang="en-GB" dirty="0"/>
        </a:p>
      </dgm:t>
    </dgm:pt>
    <dgm:pt modelId="{791B2664-4A69-4AF3-9063-F3A3CE135CE4}" type="parTrans" cxnId="{2F1AAF61-BF1A-425B-9BDF-F74548EAB59D}">
      <dgm:prSet/>
      <dgm:spPr/>
      <dgm:t>
        <a:bodyPr/>
        <a:lstStyle/>
        <a:p>
          <a:endParaRPr lang="en-GB"/>
        </a:p>
      </dgm:t>
    </dgm:pt>
    <dgm:pt modelId="{FD954AB7-3A81-47BD-8846-7BC61EB6F1AD}" type="sibTrans" cxnId="{2F1AAF61-BF1A-425B-9BDF-F74548EAB59D}">
      <dgm:prSet/>
      <dgm:spPr/>
      <dgm:t>
        <a:bodyPr/>
        <a:lstStyle/>
        <a:p>
          <a:endParaRPr lang="en-GB"/>
        </a:p>
      </dgm:t>
    </dgm:pt>
    <dgm:pt modelId="{DC7B4D57-8978-4E50-9A02-98E10A6BA12A}">
      <dgm:prSet phldrT="[Text]"/>
      <dgm:spPr/>
      <dgm:t>
        <a:bodyPr/>
        <a:lstStyle/>
        <a:p>
          <a:r>
            <a:rPr lang="de-AT" dirty="0" smtClean="0"/>
            <a:t>AFTN / AMHS</a:t>
          </a:r>
          <a:endParaRPr lang="en-GB" dirty="0"/>
        </a:p>
      </dgm:t>
    </dgm:pt>
    <dgm:pt modelId="{57A54395-BD07-49EA-A664-D483B657DD97}" type="parTrans" cxnId="{69BBD8B2-2B53-43FC-9CA9-A71DBE9B2A24}">
      <dgm:prSet/>
      <dgm:spPr/>
      <dgm:t>
        <a:bodyPr/>
        <a:lstStyle/>
        <a:p>
          <a:endParaRPr lang="en-GB"/>
        </a:p>
      </dgm:t>
    </dgm:pt>
    <dgm:pt modelId="{C5D96B1E-78AA-4B0D-9797-95C6725ADFD1}" type="sibTrans" cxnId="{69BBD8B2-2B53-43FC-9CA9-A71DBE9B2A24}">
      <dgm:prSet/>
      <dgm:spPr/>
      <dgm:t>
        <a:bodyPr/>
        <a:lstStyle/>
        <a:p>
          <a:endParaRPr lang="en-GB"/>
        </a:p>
      </dgm:t>
    </dgm:pt>
    <dgm:pt modelId="{0705983A-3C0A-48A3-ABE2-E2F222AC1074}">
      <dgm:prSet phldrT="[Text]"/>
      <dgm:spPr/>
      <dgm:t>
        <a:bodyPr/>
        <a:lstStyle/>
        <a:p>
          <a:r>
            <a:rPr lang="de-AT" dirty="0" err="1" smtClean="0"/>
            <a:t>smartINMO</a:t>
          </a:r>
          <a:r>
            <a:rPr lang="de-AT" dirty="0" smtClean="0"/>
            <a:t> NOTAM </a:t>
          </a:r>
          <a:r>
            <a:rPr lang="de-AT" dirty="0" err="1" smtClean="0"/>
            <a:t>Mgt</a:t>
          </a:r>
          <a:endParaRPr lang="en-GB" dirty="0"/>
        </a:p>
      </dgm:t>
    </dgm:pt>
    <dgm:pt modelId="{DF5B0C8D-6E58-4371-9F97-99681CDC8B13}" type="parTrans" cxnId="{209CD9EE-FD32-4AC4-95E5-FDCA82775B0B}">
      <dgm:prSet/>
      <dgm:spPr/>
      <dgm:t>
        <a:bodyPr/>
        <a:lstStyle/>
        <a:p>
          <a:endParaRPr lang="en-GB"/>
        </a:p>
      </dgm:t>
    </dgm:pt>
    <dgm:pt modelId="{B7C083CD-84BB-44D4-9359-ADD1F1BC57BB}" type="sibTrans" cxnId="{209CD9EE-FD32-4AC4-95E5-FDCA82775B0B}">
      <dgm:prSet/>
      <dgm:spPr/>
      <dgm:t>
        <a:bodyPr/>
        <a:lstStyle/>
        <a:p>
          <a:endParaRPr lang="en-GB"/>
        </a:p>
      </dgm:t>
    </dgm:pt>
    <dgm:pt modelId="{A05B6698-8B18-4D27-9654-5D161DC421E4}">
      <dgm:prSet phldrT="[Text]"/>
      <dgm:spPr/>
      <dgm:t>
        <a:bodyPr/>
        <a:lstStyle/>
        <a:p>
          <a:r>
            <a:rPr lang="de-AT" dirty="0" smtClean="0"/>
            <a:t>(digital) Briefing</a:t>
          </a:r>
        </a:p>
      </dgm:t>
    </dgm:pt>
    <dgm:pt modelId="{42C7ADF8-B4E8-4309-9829-595A4DB0BBC1}" type="parTrans" cxnId="{1D2CCF84-1BFC-442F-87A8-782634E47706}">
      <dgm:prSet/>
      <dgm:spPr/>
      <dgm:t>
        <a:bodyPr/>
        <a:lstStyle/>
        <a:p>
          <a:endParaRPr lang="en-GB"/>
        </a:p>
      </dgm:t>
    </dgm:pt>
    <dgm:pt modelId="{64485454-0F12-46AA-9134-96699720A66B}" type="sibTrans" cxnId="{1D2CCF84-1BFC-442F-87A8-782634E47706}">
      <dgm:prSet/>
      <dgm:spPr/>
      <dgm:t>
        <a:bodyPr/>
        <a:lstStyle/>
        <a:p>
          <a:endParaRPr lang="en-GB"/>
        </a:p>
      </dgm:t>
    </dgm:pt>
    <dgm:pt modelId="{3BCF3BF8-F186-413D-ACB8-0C58CF2667C5}">
      <dgm:prSet phldrT="[Text]"/>
      <dgm:spPr/>
      <dgm:t>
        <a:bodyPr/>
        <a:lstStyle/>
        <a:p>
          <a:r>
            <a:rPr lang="de-AT" dirty="0" err="1" smtClean="0"/>
            <a:t>smartINMO</a:t>
          </a:r>
          <a:r>
            <a:rPr lang="de-AT" dirty="0" smtClean="0"/>
            <a:t> Briefing</a:t>
          </a:r>
        </a:p>
      </dgm:t>
    </dgm:pt>
    <dgm:pt modelId="{22F9F1DD-27E0-4C01-8FEB-1892D672C292}" type="parTrans" cxnId="{1F524821-28E6-4AF5-8D9D-FED7B8C4EA57}">
      <dgm:prSet/>
      <dgm:spPr/>
      <dgm:t>
        <a:bodyPr/>
        <a:lstStyle/>
        <a:p>
          <a:endParaRPr lang="en-GB"/>
        </a:p>
      </dgm:t>
    </dgm:pt>
    <dgm:pt modelId="{F8DAAAC7-43B8-4E9B-8CAC-CBC1DD444045}" type="sibTrans" cxnId="{1F524821-28E6-4AF5-8D9D-FED7B8C4EA57}">
      <dgm:prSet/>
      <dgm:spPr/>
      <dgm:t>
        <a:bodyPr/>
        <a:lstStyle/>
        <a:p>
          <a:endParaRPr lang="en-GB"/>
        </a:p>
      </dgm:t>
    </dgm:pt>
    <dgm:pt modelId="{26F03236-D87C-4804-B229-229BFA7B4786}">
      <dgm:prSet phldrT="[Text]"/>
      <dgm:spPr/>
      <dgm:t>
        <a:bodyPr/>
        <a:lstStyle/>
        <a:p>
          <a:r>
            <a:rPr lang="de-AT" dirty="0" err="1" smtClean="0"/>
            <a:t>smartWeather</a:t>
          </a:r>
          <a:endParaRPr lang="de-AT" dirty="0" smtClean="0"/>
        </a:p>
      </dgm:t>
    </dgm:pt>
    <dgm:pt modelId="{4DAC638E-F4C8-40B7-9E9D-C5D007B7EAF3}" type="parTrans" cxnId="{57162299-901A-40BA-AD4D-072067D8545E}">
      <dgm:prSet/>
      <dgm:spPr/>
      <dgm:t>
        <a:bodyPr/>
        <a:lstStyle/>
        <a:p>
          <a:endParaRPr lang="en-GB"/>
        </a:p>
      </dgm:t>
    </dgm:pt>
    <dgm:pt modelId="{68CE141B-7280-4E49-A72A-501BBE31B973}" type="sibTrans" cxnId="{57162299-901A-40BA-AD4D-072067D8545E}">
      <dgm:prSet/>
      <dgm:spPr/>
      <dgm:t>
        <a:bodyPr/>
        <a:lstStyle/>
        <a:p>
          <a:endParaRPr lang="en-GB"/>
        </a:p>
      </dgm:t>
    </dgm:pt>
    <dgm:pt modelId="{E4A4F3A3-A3FA-41D0-9C79-AD43B2374A19}">
      <dgm:prSet phldrT="[Text]"/>
      <dgm:spPr/>
      <dgm:t>
        <a:bodyPr/>
        <a:lstStyle/>
        <a:p>
          <a:r>
            <a:rPr lang="de-AT" dirty="0" err="1" smtClean="0"/>
            <a:t>smartINMO</a:t>
          </a:r>
          <a:r>
            <a:rPr lang="de-AT" dirty="0" smtClean="0"/>
            <a:t> Flight Plan Management</a:t>
          </a:r>
        </a:p>
      </dgm:t>
    </dgm:pt>
    <dgm:pt modelId="{3EA0DA7A-7FFB-4D02-9A72-85BCA3799B7A}" type="parTrans" cxnId="{B4407EDA-48CA-4943-B84A-F9EE4D11D95D}">
      <dgm:prSet/>
      <dgm:spPr/>
      <dgm:t>
        <a:bodyPr/>
        <a:lstStyle/>
        <a:p>
          <a:endParaRPr lang="en-GB"/>
        </a:p>
      </dgm:t>
    </dgm:pt>
    <dgm:pt modelId="{54A9C835-DB88-4AB0-8C0C-6D4F8AEEDACB}" type="sibTrans" cxnId="{B4407EDA-48CA-4943-B84A-F9EE4D11D95D}">
      <dgm:prSet/>
      <dgm:spPr/>
      <dgm:t>
        <a:bodyPr/>
        <a:lstStyle/>
        <a:p>
          <a:endParaRPr lang="en-GB"/>
        </a:p>
      </dgm:t>
    </dgm:pt>
    <dgm:pt modelId="{5A656120-56FA-4102-8F13-945AA35E2791}">
      <dgm:prSet phldrT="[Text]"/>
      <dgm:spPr/>
      <dgm:t>
        <a:bodyPr/>
        <a:lstStyle/>
        <a:p>
          <a:r>
            <a:rPr lang="de-AT" dirty="0" err="1" smtClean="0"/>
            <a:t>smartDM</a:t>
          </a:r>
          <a:endParaRPr lang="de-AT" dirty="0" smtClean="0"/>
        </a:p>
      </dgm:t>
    </dgm:pt>
    <dgm:pt modelId="{38CEEF69-799E-4CBC-B1C6-1327658BBAA4}" type="parTrans" cxnId="{C65485B9-4377-4F4C-983B-B7F71C677B14}">
      <dgm:prSet/>
      <dgm:spPr/>
      <dgm:t>
        <a:bodyPr/>
        <a:lstStyle/>
        <a:p>
          <a:endParaRPr lang="en-GB"/>
        </a:p>
      </dgm:t>
    </dgm:pt>
    <dgm:pt modelId="{8AD183E0-913A-4377-AA69-EE9FCF008A03}" type="sibTrans" cxnId="{C65485B9-4377-4F4C-983B-B7F71C677B14}">
      <dgm:prSet/>
      <dgm:spPr/>
      <dgm:t>
        <a:bodyPr/>
        <a:lstStyle/>
        <a:p>
          <a:endParaRPr lang="en-GB"/>
        </a:p>
      </dgm:t>
    </dgm:pt>
    <dgm:pt modelId="{514658EC-4B3A-4750-862A-45084E380607}">
      <dgm:prSet phldrT="[Text]"/>
      <dgm:spPr/>
      <dgm:t>
        <a:bodyPr/>
        <a:lstStyle/>
        <a:p>
          <a:r>
            <a:rPr lang="de-AT" dirty="0" err="1" smtClean="0"/>
            <a:t>smartDM</a:t>
          </a:r>
          <a:r>
            <a:rPr lang="de-AT" dirty="0" smtClean="0"/>
            <a:t> Reporting</a:t>
          </a:r>
        </a:p>
      </dgm:t>
    </dgm:pt>
    <dgm:pt modelId="{C3B545B2-B8E6-4643-9F27-2A0D17F76102}" type="parTrans" cxnId="{C953FE92-3AB1-4EBC-8649-605C764A0BD4}">
      <dgm:prSet/>
      <dgm:spPr/>
      <dgm:t>
        <a:bodyPr/>
        <a:lstStyle/>
        <a:p>
          <a:endParaRPr lang="en-GB"/>
        </a:p>
      </dgm:t>
    </dgm:pt>
    <dgm:pt modelId="{989CA1C4-7F8B-448F-A389-2BD634D802AE}" type="sibTrans" cxnId="{C953FE92-3AB1-4EBC-8649-605C764A0BD4}">
      <dgm:prSet/>
      <dgm:spPr/>
      <dgm:t>
        <a:bodyPr/>
        <a:lstStyle/>
        <a:p>
          <a:endParaRPr lang="en-GB"/>
        </a:p>
      </dgm:t>
    </dgm:pt>
    <dgm:pt modelId="{8E1DC07C-4064-4B26-BBF2-306A21C98145}">
      <dgm:prSet phldrT="[Text]"/>
      <dgm:spPr/>
      <dgm:t>
        <a:bodyPr/>
        <a:lstStyle/>
        <a:p>
          <a:r>
            <a:rPr lang="de-AT" dirty="0" err="1" smtClean="0"/>
            <a:t>smartDM</a:t>
          </a:r>
          <a:r>
            <a:rPr lang="de-AT" dirty="0" smtClean="0"/>
            <a:t> GIS</a:t>
          </a:r>
        </a:p>
      </dgm:t>
    </dgm:pt>
    <dgm:pt modelId="{574879CF-29F8-4D1F-B6C7-C5DF86640D70}" type="parTrans" cxnId="{C316C635-1838-4A7E-8C9A-2CDB36451F3F}">
      <dgm:prSet/>
      <dgm:spPr/>
      <dgm:t>
        <a:bodyPr/>
        <a:lstStyle/>
        <a:p>
          <a:endParaRPr lang="en-GB"/>
        </a:p>
      </dgm:t>
    </dgm:pt>
    <dgm:pt modelId="{714547B8-0B58-455F-9C83-21A713BD5AD1}" type="sibTrans" cxnId="{C316C635-1838-4A7E-8C9A-2CDB36451F3F}">
      <dgm:prSet/>
      <dgm:spPr/>
      <dgm:t>
        <a:bodyPr/>
        <a:lstStyle/>
        <a:p>
          <a:endParaRPr lang="en-GB"/>
        </a:p>
      </dgm:t>
    </dgm:pt>
    <dgm:pt modelId="{AE53C03C-408F-4FBE-B468-CAAC5B3466A2}">
      <dgm:prSet phldrT="[Text]"/>
      <dgm:spPr/>
      <dgm:t>
        <a:bodyPr/>
        <a:lstStyle/>
        <a:p>
          <a:r>
            <a:rPr lang="de-AT" dirty="0" err="1" smtClean="0"/>
            <a:t>smartAIP</a:t>
          </a:r>
          <a:endParaRPr lang="en-GB" dirty="0"/>
        </a:p>
      </dgm:t>
    </dgm:pt>
    <dgm:pt modelId="{CFAF5E4B-E910-4CAA-B966-FD4EBEACA99A}" type="parTrans" cxnId="{D50B8455-520B-4479-B318-34BB4862BFE7}">
      <dgm:prSet/>
      <dgm:spPr/>
      <dgm:t>
        <a:bodyPr/>
        <a:lstStyle/>
        <a:p>
          <a:endParaRPr lang="en-GB"/>
        </a:p>
      </dgm:t>
    </dgm:pt>
    <dgm:pt modelId="{1A77FD97-D5E4-4510-9669-FE169625C516}" type="sibTrans" cxnId="{D50B8455-520B-4479-B318-34BB4862BFE7}">
      <dgm:prSet/>
      <dgm:spPr/>
      <dgm:t>
        <a:bodyPr/>
        <a:lstStyle/>
        <a:p>
          <a:endParaRPr lang="en-GB"/>
        </a:p>
      </dgm:t>
    </dgm:pt>
    <dgm:pt modelId="{B33726CC-9AFD-4214-AD7D-ECAF1BC9D27E}">
      <dgm:prSet phldrT="[Text]"/>
      <dgm:spPr/>
      <dgm:t>
        <a:bodyPr/>
        <a:lstStyle/>
        <a:p>
          <a:r>
            <a:rPr lang="de-AT" dirty="0" err="1" smtClean="0"/>
            <a:t>smartCharting</a:t>
          </a:r>
          <a:endParaRPr lang="en-GB" dirty="0"/>
        </a:p>
      </dgm:t>
    </dgm:pt>
    <dgm:pt modelId="{D2A07A60-319C-46EA-8993-778539FE4373}" type="parTrans" cxnId="{41721B33-A773-4D74-93C4-1F6F4383CF72}">
      <dgm:prSet/>
      <dgm:spPr/>
      <dgm:t>
        <a:bodyPr/>
        <a:lstStyle/>
        <a:p>
          <a:endParaRPr lang="en-GB"/>
        </a:p>
      </dgm:t>
    </dgm:pt>
    <dgm:pt modelId="{7264B2FC-3AD2-4E50-8091-0CC64AE4FFAE}" type="sibTrans" cxnId="{41721B33-A773-4D74-93C4-1F6F4383CF72}">
      <dgm:prSet/>
      <dgm:spPr/>
      <dgm:t>
        <a:bodyPr/>
        <a:lstStyle/>
        <a:p>
          <a:endParaRPr lang="en-GB"/>
        </a:p>
      </dgm:t>
    </dgm:pt>
    <dgm:pt modelId="{EC5C7E38-E2B4-4A9E-AA6E-36CEA7D6440C}">
      <dgm:prSet phldrT="[Text]"/>
      <dgm:spPr/>
      <dgm:t>
        <a:bodyPr/>
        <a:lstStyle/>
        <a:p>
          <a:r>
            <a:rPr lang="de-AT" dirty="0" err="1" smtClean="0"/>
            <a:t>smartWebClient</a:t>
          </a:r>
          <a:endParaRPr lang="en-GB" dirty="0"/>
        </a:p>
      </dgm:t>
    </dgm:pt>
    <dgm:pt modelId="{A20580E5-F740-443E-9147-85E623CAEBF3}" type="parTrans" cxnId="{27D67D09-B491-4E78-99F5-FA97F9516C36}">
      <dgm:prSet/>
      <dgm:spPr/>
      <dgm:t>
        <a:bodyPr/>
        <a:lstStyle/>
        <a:p>
          <a:endParaRPr lang="en-GB"/>
        </a:p>
      </dgm:t>
    </dgm:pt>
    <dgm:pt modelId="{E3311303-3352-4B27-8D77-834AD6935C3C}" type="sibTrans" cxnId="{27D67D09-B491-4E78-99F5-FA97F9516C36}">
      <dgm:prSet/>
      <dgm:spPr/>
      <dgm:t>
        <a:bodyPr/>
        <a:lstStyle/>
        <a:p>
          <a:endParaRPr lang="en-GB"/>
        </a:p>
      </dgm:t>
    </dgm:pt>
    <dgm:pt modelId="{54516668-DA56-4330-92E1-198B769483A2}">
      <dgm:prSet phldrT="[Text]"/>
      <dgm:spPr/>
      <dgm:t>
        <a:bodyPr/>
        <a:lstStyle/>
        <a:p>
          <a:r>
            <a:rPr lang="de-AT" dirty="0" smtClean="0"/>
            <a:t>PAMS</a:t>
          </a:r>
          <a:endParaRPr lang="en-GB" dirty="0"/>
        </a:p>
      </dgm:t>
    </dgm:pt>
    <dgm:pt modelId="{FDF53EDB-8674-49F7-9943-9416A8140BA8}" type="parTrans" cxnId="{B2F4438B-C156-4ED5-ABC3-618A3C6A3213}">
      <dgm:prSet/>
      <dgm:spPr/>
      <dgm:t>
        <a:bodyPr/>
        <a:lstStyle/>
        <a:p>
          <a:endParaRPr lang="en-GB"/>
        </a:p>
      </dgm:t>
    </dgm:pt>
    <dgm:pt modelId="{89F27C00-DEB7-410F-A156-1F9F66BCF84A}" type="sibTrans" cxnId="{B2F4438B-C156-4ED5-ABC3-618A3C6A3213}">
      <dgm:prSet/>
      <dgm:spPr/>
      <dgm:t>
        <a:bodyPr/>
        <a:lstStyle/>
        <a:p>
          <a:endParaRPr lang="en-GB"/>
        </a:p>
      </dgm:t>
    </dgm:pt>
    <dgm:pt modelId="{390567CA-2D96-4025-8BB0-A27DEC8277F0}">
      <dgm:prSet phldrT="[Text]"/>
      <dgm:spPr/>
      <dgm:t>
        <a:bodyPr/>
        <a:lstStyle/>
        <a:p>
          <a:r>
            <a:rPr lang="de-AT" dirty="0" err="1" smtClean="0"/>
            <a:t>smartMessenger</a:t>
          </a:r>
          <a:endParaRPr lang="en-GB" dirty="0"/>
        </a:p>
      </dgm:t>
    </dgm:pt>
    <dgm:pt modelId="{5025B4EA-48B5-43DE-9FB5-A1CB0FA70A13}" type="parTrans" cxnId="{C14B5B39-F277-494A-BE9F-A2004F3BF64C}">
      <dgm:prSet/>
      <dgm:spPr/>
      <dgm:t>
        <a:bodyPr/>
        <a:lstStyle/>
        <a:p>
          <a:endParaRPr lang="en-GB"/>
        </a:p>
      </dgm:t>
    </dgm:pt>
    <dgm:pt modelId="{21C5A562-28A6-4B56-A156-9F335222E38A}" type="sibTrans" cxnId="{C14B5B39-F277-494A-BE9F-A2004F3BF64C}">
      <dgm:prSet/>
      <dgm:spPr/>
      <dgm:t>
        <a:bodyPr/>
        <a:lstStyle/>
        <a:p>
          <a:endParaRPr lang="en-GB"/>
        </a:p>
      </dgm:t>
    </dgm:pt>
    <dgm:pt modelId="{1F40161E-6A13-485A-96F7-BB215BF51CCB}">
      <dgm:prSet phldrT="[Text]"/>
      <dgm:spPr/>
      <dgm:t>
        <a:bodyPr/>
        <a:lstStyle/>
        <a:p>
          <a:r>
            <a:rPr lang="de-AT" dirty="0" err="1" smtClean="0"/>
            <a:t>Traceability</a:t>
          </a:r>
          <a:endParaRPr lang="en-GB" dirty="0"/>
        </a:p>
      </dgm:t>
    </dgm:pt>
    <dgm:pt modelId="{EF6C6888-7EBB-4995-9506-3BB643EF5F0B}" type="parTrans" cxnId="{208A6661-44FD-46FB-B429-19EC145310F5}">
      <dgm:prSet/>
      <dgm:spPr/>
      <dgm:t>
        <a:bodyPr/>
        <a:lstStyle/>
        <a:p>
          <a:endParaRPr lang="en-GB"/>
        </a:p>
      </dgm:t>
    </dgm:pt>
    <dgm:pt modelId="{F5E079C8-B21D-4D56-B985-C7F9A4613AB3}" type="sibTrans" cxnId="{208A6661-44FD-46FB-B429-19EC145310F5}">
      <dgm:prSet/>
      <dgm:spPr/>
      <dgm:t>
        <a:bodyPr/>
        <a:lstStyle/>
        <a:p>
          <a:endParaRPr lang="en-GB"/>
        </a:p>
      </dgm:t>
    </dgm:pt>
    <dgm:pt modelId="{478DB0CC-C4D6-4154-976F-4E6232191E6B}">
      <dgm:prSet phldrT="[Text]"/>
      <dgm:spPr/>
      <dgm:t>
        <a:bodyPr/>
        <a:lstStyle/>
        <a:p>
          <a:r>
            <a:rPr lang="de-AT" dirty="0" smtClean="0"/>
            <a:t>Workflow  Management</a:t>
          </a:r>
          <a:endParaRPr lang="en-GB" dirty="0"/>
        </a:p>
      </dgm:t>
    </dgm:pt>
    <dgm:pt modelId="{923F0803-3A4A-45C2-8078-9FDD914D9C7B}" type="parTrans" cxnId="{0AFD54D7-80F6-4923-9042-376C7F8759F5}">
      <dgm:prSet/>
      <dgm:spPr/>
      <dgm:t>
        <a:bodyPr/>
        <a:lstStyle/>
        <a:p>
          <a:endParaRPr lang="en-GB"/>
        </a:p>
      </dgm:t>
    </dgm:pt>
    <dgm:pt modelId="{0EB317C6-6F6D-4974-ACD1-89B5C3C50B42}" type="sibTrans" cxnId="{0AFD54D7-80F6-4923-9042-376C7F8759F5}">
      <dgm:prSet/>
      <dgm:spPr/>
      <dgm:t>
        <a:bodyPr/>
        <a:lstStyle/>
        <a:p>
          <a:endParaRPr lang="en-GB"/>
        </a:p>
      </dgm:t>
    </dgm:pt>
    <dgm:pt modelId="{455EAA7B-A1A6-465F-AA4F-D1FE74D481CC}">
      <dgm:prSet phldrT="[Text]"/>
      <dgm:spPr/>
      <dgm:t>
        <a:bodyPr/>
        <a:lstStyle/>
        <a:p>
          <a:r>
            <a:rPr lang="de-AT" dirty="0" err="1" smtClean="0"/>
            <a:t>smartWFM</a:t>
          </a:r>
          <a:endParaRPr lang="en-GB" dirty="0"/>
        </a:p>
      </dgm:t>
    </dgm:pt>
    <dgm:pt modelId="{E7B2154B-9139-4EB1-80EF-AFBF11EB0003}" type="parTrans" cxnId="{5DF1361C-CA06-4EFC-A7A1-1233194CFBB9}">
      <dgm:prSet/>
      <dgm:spPr/>
      <dgm:t>
        <a:bodyPr/>
        <a:lstStyle/>
        <a:p>
          <a:endParaRPr lang="en-GB"/>
        </a:p>
      </dgm:t>
    </dgm:pt>
    <dgm:pt modelId="{5994DDD8-2B86-4B2D-B24C-DF8F056722D1}" type="sibTrans" cxnId="{5DF1361C-CA06-4EFC-A7A1-1233194CFBB9}">
      <dgm:prSet/>
      <dgm:spPr/>
      <dgm:t>
        <a:bodyPr/>
        <a:lstStyle/>
        <a:p>
          <a:endParaRPr lang="en-GB"/>
        </a:p>
      </dgm:t>
    </dgm:pt>
    <dgm:pt modelId="{8E729F98-CE4F-4F95-B2AE-68FDF89FCFDB}">
      <dgm:prSet phldrT="[Text]"/>
      <dgm:spPr/>
      <dgm:t>
        <a:bodyPr/>
        <a:lstStyle/>
        <a:p>
          <a:r>
            <a:rPr lang="de-AT" dirty="0" smtClean="0"/>
            <a:t>Terrain / </a:t>
          </a:r>
          <a:r>
            <a:rPr lang="de-AT" dirty="0" err="1" smtClean="0"/>
            <a:t>Obstacle</a:t>
          </a:r>
          <a:endParaRPr lang="de-AT" dirty="0" smtClean="0"/>
        </a:p>
      </dgm:t>
    </dgm:pt>
    <dgm:pt modelId="{A7A475C8-4405-43D8-8AEE-530FE30F0E11}" type="parTrans" cxnId="{8BFFE146-6B67-4F2E-9530-CB6FFFD1CD25}">
      <dgm:prSet/>
      <dgm:spPr/>
      <dgm:t>
        <a:bodyPr/>
        <a:lstStyle/>
        <a:p>
          <a:endParaRPr lang="en-GB"/>
        </a:p>
      </dgm:t>
    </dgm:pt>
    <dgm:pt modelId="{A00779BF-4627-4014-9B02-1D4BEF422C96}" type="sibTrans" cxnId="{8BFFE146-6B67-4F2E-9530-CB6FFFD1CD25}">
      <dgm:prSet/>
      <dgm:spPr/>
      <dgm:t>
        <a:bodyPr/>
        <a:lstStyle/>
        <a:p>
          <a:endParaRPr lang="en-GB"/>
        </a:p>
      </dgm:t>
    </dgm:pt>
    <dgm:pt modelId="{C6FF9136-67E8-4B29-B90D-864D72948DDC}">
      <dgm:prSet phldrT="[Text]"/>
      <dgm:spPr/>
      <dgm:t>
        <a:bodyPr/>
        <a:lstStyle/>
        <a:p>
          <a:r>
            <a:rPr lang="de-AT" dirty="0" err="1" smtClean="0"/>
            <a:t>smartETOD</a:t>
          </a:r>
          <a:endParaRPr lang="de-AT" dirty="0" smtClean="0"/>
        </a:p>
      </dgm:t>
    </dgm:pt>
    <dgm:pt modelId="{8D640311-0352-4B61-8CDC-6D5638593B06}" type="parTrans" cxnId="{D0AF4504-C7E9-4F79-9C8F-0DDFDD068B18}">
      <dgm:prSet/>
      <dgm:spPr/>
      <dgm:t>
        <a:bodyPr/>
        <a:lstStyle/>
        <a:p>
          <a:endParaRPr lang="en-GB"/>
        </a:p>
      </dgm:t>
    </dgm:pt>
    <dgm:pt modelId="{CCF5E9A9-106A-4C5A-B60F-4BDF9C08A5E6}" type="sibTrans" cxnId="{D0AF4504-C7E9-4F79-9C8F-0DDFDD068B18}">
      <dgm:prSet/>
      <dgm:spPr/>
      <dgm:t>
        <a:bodyPr/>
        <a:lstStyle/>
        <a:p>
          <a:endParaRPr lang="en-GB"/>
        </a:p>
      </dgm:t>
    </dgm:pt>
    <dgm:pt modelId="{3C179B9E-E01E-40A6-8DD5-51B657BD15EB}" type="pres">
      <dgm:prSet presAssocID="{6A92BAD2-26DB-4DC3-8231-94A720AD8575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B65251F6-ACA3-4397-8BC5-2F50F5782763}" type="pres">
      <dgm:prSet presAssocID="{FF8BFFC2-8932-4DAD-A2F4-166D324F4030}" presName="root1" presStyleCnt="0"/>
      <dgm:spPr/>
    </dgm:pt>
    <dgm:pt modelId="{221C0ABD-F137-4CB8-96DB-77DC9C9D08D5}" type="pres">
      <dgm:prSet presAssocID="{FF8BFFC2-8932-4DAD-A2F4-166D324F4030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5DDCD98F-57F6-409A-8E8C-058C527DACAF}" type="pres">
      <dgm:prSet presAssocID="{FF8BFFC2-8932-4DAD-A2F4-166D324F4030}" presName="level2hierChild" presStyleCnt="0"/>
      <dgm:spPr/>
    </dgm:pt>
    <dgm:pt modelId="{891000AE-E413-4758-BDE2-424EB5C8CC66}" type="pres">
      <dgm:prSet presAssocID="{1D7A899A-1AD4-4B3D-8EF3-671D0C46549E}" presName="conn2-1" presStyleLbl="parChTrans1D2" presStyleIdx="0" presStyleCnt="5"/>
      <dgm:spPr/>
      <dgm:t>
        <a:bodyPr/>
        <a:lstStyle/>
        <a:p>
          <a:endParaRPr lang="en-GB"/>
        </a:p>
      </dgm:t>
    </dgm:pt>
    <dgm:pt modelId="{BA5A1692-9B8A-4FF7-85C3-1998DCC6310D}" type="pres">
      <dgm:prSet presAssocID="{1D7A899A-1AD4-4B3D-8EF3-671D0C46549E}" presName="connTx" presStyleLbl="parChTrans1D2" presStyleIdx="0" presStyleCnt="5"/>
      <dgm:spPr/>
      <dgm:t>
        <a:bodyPr/>
        <a:lstStyle/>
        <a:p>
          <a:endParaRPr lang="en-GB"/>
        </a:p>
      </dgm:t>
    </dgm:pt>
    <dgm:pt modelId="{C4356F43-279E-4C82-BB4A-18997D0DDD7F}" type="pres">
      <dgm:prSet presAssocID="{0D699952-452A-43DC-8A2A-10789397BA53}" presName="root2" presStyleCnt="0"/>
      <dgm:spPr/>
    </dgm:pt>
    <dgm:pt modelId="{818AF95D-8EC8-4CA2-932B-0F643792FAF6}" type="pres">
      <dgm:prSet presAssocID="{0D699952-452A-43DC-8A2A-10789397BA53}" presName="LevelTwoTextNode" presStyleLbl="node2" presStyleIdx="0" presStyleCnt="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513884D2-23BD-4BD4-8ACF-4A7F90BA7C36}" type="pres">
      <dgm:prSet presAssocID="{0D699952-452A-43DC-8A2A-10789397BA53}" presName="level3hierChild" presStyleCnt="0"/>
      <dgm:spPr/>
    </dgm:pt>
    <dgm:pt modelId="{A782C83A-67FE-4C40-AFF3-C9300C2CCCEF}" type="pres">
      <dgm:prSet presAssocID="{03257A50-CA63-4ED1-B383-04E23EE7A061}" presName="conn2-1" presStyleLbl="parChTrans1D3" presStyleIdx="0" presStyleCnt="13"/>
      <dgm:spPr/>
      <dgm:t>
        <a:bodyPr/>
        <a:lstStyle/>
        <a:p>
          <a:endParaRPr lang="en-GB"/>
        </a:p>
      </dgm:t>
    </dgm:pt>
    <dgm:pt modelId="{190D25F0-DC1A-460E-BDD1-3F05521A303F}" type="pres">
      <dgm:prSet presAssocID="{03257A50-CA63-4ED1-B383-04E23EE7A061}" presName="connTx" presStyleLbl="parChTrans1D3" presStyleIdx="0" presStyleCnt="13"/>
      <dgm:spPr/>
      <dgm:t>
        <a:bodyPr/>
        <a:lstStyle/>
        <a:p>
          <a:endParaRPr lang="en-GB"/>
        </a:p>
      </dgm:t>
    </dgm:pt>
    <dgm:pt modelId="{7DE29F3C-C0DD-4CA3-955C-F0624AF940C3}" type="pres">
      <dgm:prSet presAssocID="{43FEB39D-726D-4CE3-9FB8-495198D8C367}" presName="root2" presStyleCnt="0"/>
      <dgm:spPr/>
    </dgm:pt>
    <dgm:pt modelId="{FBED6358-2AA8-484B-A47C-E746EE3B1090}" type="pres">
      <dgm:prSet presAssocID="{43FEB39D-726D-4CE3-9FB8-495198D8C367}" presName="LevelTwoTextNode" presStyleLbl="node3" presStyleIdx="0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5B2E3DB0-D9FC-44C0-9F20-4D00B6C222F7}" type="pres">
      <dgm:prSet presAssocID="{43FEB39D-726D-4CE3-9FB8-495198D8C367}" presName="level3hierChild" presStyleCnt="0"/>
      <dgm:spPr/>
    </dgm:pt>
    <dgm:pt modelId="{FF12CFCD-0E3C-4D75-B097-530AC5B926B8}" type="pres">
      <dgm:prSet presAssocID="{DF5B0C8D-6E58-4371-9F97-99681CDC8B13}" presName="conn2-1" presStyleLbl="parChTrans1D4" presStyleIdx="0" presStyleCnt="14"/>
      <dgm:spPr/>
      <dgm:t>
        <a:bodyPr/>
        <a:lstStyle/>
        <a:p>
          <a:endParaRPr lang="en-GB"/>
        </a:p>
      </dgm:t>
    </dgm:pt>
    <dgm:pt modelId="{D3025B3C-385C-4EA8-89A4-F7DD0401A04E}" type="pres">
      <dgm:prSet presAssocID="{DF5B0C8D-6E58-4371-9F97-99681CDC8B13}" presName="connTx" presStyleLbl="parChTrans1D4" presStyleIdx="0" presStyleCnt="14"/>
      <dgm:spPr/>
      <dgm:t>
        <a:bodyPr/>
        <a:lstStyle/>
        <a:p>
          <a:endParaRPr lang="en-GB"/>
        </a:p>
      </dgm:t>
    </dgm:pt>
    <dgm:pt modelId="{9415AFB5-3B58-4F02-B57D-C966B5F79FD5}" type="pres">
      <dgm:prSet presAssocID="{0705983A-3C0A-48A3-ABE2-E2F222AC1074}" presName="root2" presStyleCnt="0"/>
      <dgm:spPr/>
    </dgm:pt>
    <dgm:pt modelId="{94D2853E-29EB-40AF-87B4-EFAEB56E7795}" type="pres">
      <dgm:prSet presAssocID="{0705983A-3C0A-48A3-ABE2-E2F222AC1074}" presName="LevelTwoTextNode" presStyleLbl="node4" presStyleIdx="0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639C2F4D-9CCE-4C00-B361-1AAA830592C1}" type="pres">
      <dgm:prSet presAssocID="{0705983A-3C0A-48A3-ABE2-E2F222AC1074}" presName="level3hierChild" presStyleCnt="0"/>
      <dgm:spPr/>
    </dgm:pt>
    <dgm:pt modelId="{CB7D7CEC-8545-4056-8ABA-9567892C8285}" type="pres">
      <dgm:prSet presAssocID="{42C7ADF8-B4E8-4309-9829-595A4DB0BBC1}" presName="conn2-1" presStyleLbl="parChTrans1D3" presStyleIdx="1" presStyleCnt="13"/>
      <dgm:spPr/>
      <dgm:t>
        <a:bodyPr/>
        <a:lstStyle/>
        <a:p>
          <a:endParaRPr lang="en-GB"/>
        </a:p>
      </dgm:t>
    </dgm:pt>
    <dgm:pt modelId="{35FFE7F6-66D6-4BBD-996D-3E2F63F922B9}" type="pres">
      <dgm:prSet presAssocID="{42C7ADF8-B4E8-4309-9829-595A4DB0BBC1}" presName="connTx" presStyleLbl="parChTrans1D3" presStyleIdx="1" presStyleCnt="13"/>
      <dgm:spPr/>
      <dgm:t>
        <a:bodyPr/>
        <a:lstStyle/>
        <a:p>
          <a:endParaRPr lang="en-GB"/>
        </a:p>
      </dgm:t>
    </dgm:pt>
    <dgm:pt modelId="{C46BEB3D-8AC2-4255-BA19-F0DF4A7AC7CE}" type="pres">
      <dgm:prSet presAssocID="{A05B6698-8B18-4D27-9654-5D161DC421E4}" presName="root2" presStyleCnt="0"/>
      <dgm:spPr/>
    </dgm:pt>
    <dgm:pt modelId="{2390D465-4CD2-449B-9568-2611D1444FBF}" type="pres">
      <dgm:prSet presAssocID="{A05B6698-8B18-4D27-9654-5D161DC421E4}" presName="LevelTwoTextNode" presStyleLbl="node3" presStyleIdx="1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117B5339-BC4F-4CD9-8FE6-3317F28BEF13}" type="pres">
      <dgm:prSet presAssocID="{A05B6698-8B18-4D27-9654-5D161DC421E4}" presName="level3hierChild" presStyleCnt="0"/>
      <dgm:spPr/>
    </dgm:pt>
    <dgm:pt modelId="{E549F07B-EFA3-4749-ADCE-87F403808456}" type="pres">
      <dgm:prSet presAssocID="{22F9F1DD-27E0-4C01-8FEB-1892D672C292}" presName="conn2-1" presStyleLbl="parChTrans1D4" presStyleIdx="1" presStyleCnt="14"/>
      <dgm:spPr/>
      <dgm:t>
        <a:bodyPr/>
        <a:lstStyle/>
        <a:p>
          <a:endParaRPr lang="en-GB"/>
        </a:p>
      </dgm:t>
    </dgm:pt>
    <dgm:pt modelId="{65FF99E1-6F89-4544-A7BC-F2E98DB4248A}" type="pres">
      <dgm:prSet presAssocID="{22F9F1DD-27E0-4C01-8FEB-1892D672C292}" presName="connTx" presStyleLbl="parChTrans1D4" presStyleIdx="1" presStyleCnt="14"/>
      <dgm:spPr/>
      <dgm:t>
        <a:bodyPr/>
        <a:lstStyle/>
        <a:p>
          <a:endParaRPr lang="en-GB"/>
        </a:p>
      </dgm:t>
    </dgm:pt>
    <dgm:pt modelId="{156AA842-507A-4435-A4F4-37E32085EC08}" type="pres">
      <dgm:prSet presAssocID="{3BCF3BF8-F186-413D-ACB8-0C58CF2667C5}" presName="root2" presStyleCnt="0"/>
      <dgm:spPr/>
    </dgm:pt>
    <dgm:pt modelId="{0BB4B318-77A8-43A9-8A81-C17AD373D5EE}" type="pres">
      <dgm:prSet presAssocID="{3BCF3BF8-F186-413D-ACB8-0C58CF2667C5}" presName="LevelTwoTextNode" presStyleLbl="node4" presStyleIdx="1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E0C7FD22-48D8-41CD-8008-4F51D24E7165}" type="pres">
      <dgm:prSet presAssocID="{3BCF3BF8-F186-413D-ACB8-0C58CF2667C5}" presName="level3hierChild" presStyleCnt="0"/>
      <dgm:spPr/>
    </dgm:pt>
    <dgm:pt modelId="{69C77B1D-4C06-49BA-B1C8-0C39C786FFF6}" type="pres">
      <dgm:prSet presAssocID="{B2623657-F3FF-4A16-8A2C-C21B0A14C221}" presName="conn2-1" presStyleLbl="parChTrans1D3" presStyleIdx="2" presStyleCnt="13"/>
      <dgm:spPr/>
      <dgm:t>
        <a:bodyPr/>
        <a:lstStyle/>
        <a:p>
          <a:endParaRPr lang="en-GB"/>
        </a:p>
      </dgm:t>
    </dgm:pt>
    <dgm:pt modelId="{DC30E96A-935E-4710-AA33-1FB12DA1067D}" type="pres">
      <dgm:prSet presAssocID="{B2623657-F3FF-4A16-8A2C-C21B0A14C221}" presName="connTx" presStyleLbl="parChTrans1D3" presStyleIdx="2" presStyleCnt="13"/>
      <dgm:spPr/>
      <dgm:t>
        <a:bodyPr/>
        <a:lstStyle/>
        <a:p>
          <a:endParaRPr lang="en-GB"/>
        </a:p>
      </dgm:t>
    </dgm:pt>
    <dgm:pt modelId="{C0E50727-56A5-4A45-9DE3-7DA8B2F5343A}" type="pres">
      <dgm:prSet presAssocID="{B8ED3751-3F93-4CA5-AC11-2A52179FE4AA}" presName="root2" presStyleCnt="0"/>
      <dgm:spPr/>
    </dgm:pt>
    <dgm:pt modelId="{BD05E54A-A5DA-4350-981F-ABF3C02358C9}" type="pres">
      <dgm:prSet presAssocID="{B8ED3751-3F93-4CA5-AC11-2A52179FE4AA}" presName="LevelTwoTextNode" presStyleLbl="node3" presStyleIdx="2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0B89BD43-884E-4F9D-BF7D-3E4E629D7B6F}" type="pres">
      <dgm:prSet presAssocID="{B8ED3751-3F93-4CA5-AC11-2A52179FE4AA}" presName="level3hierChild" presStyleCnt="0"/>
      <dgm:spPr/>
    </dgm:pt>
    <dgm:pt modelId="{BA8229D2-E03A-44AB-B5CD-966D5C450E02}" type="pres">
      <dgm:prSet presAssocID="{4DAC638E-F4C8-40B7-9E9D-C5D007B7EAF3}" presName="conn2-1" presStyleLbl="parChTrans1D4" presStyleIdx="2" presStyleCnt="14"/>
      <dgm:spPr/>
      <dgm:t>
        <a:bodyPr/>
        <a:lstStyle/>
        <a:p>
          <a:endParaRPr lang="en-GB"/>
        </a:p>
      </dgm:t>
    </dgm:pt>
    <dgm:pt modelId="{76BFC593-9871-4279-8A5C-42AE1C63D400}" type="pres">
      <dgm:prSet presAssocID="{4DAC638E-F4C8-40B7-9E9D-C5D007B7EAF3}" presName="connTx" presStyleLbl="parChTrans1D4" presStyleIdx="2" presStyleCnt="14"/>
      <dgm:spPr/>
      <dgm:t>
        <a:bodyPr/>
        <a:lstStyle/>
        <a:p>
          <a:endParaRPr lang="en-GB"/>
        </a:p>
      </dgm:t>
    </dgm:pt>
    <dgm:pt modelId="{42183F72-4959-40F0-B1A1-996C1BB19579}" type="pres">
      <dgm:prSet presAssocID="{26F03236-D87C-4804-B229-229BFA7B4786}" presName="root2" presStyleCnt="0"/>
      <dgm:spPr/>
    </dgm:pt>
    <dgm:pt modelId="{7CA560A5-96BE-4ED6-95C2-D29888BE7B97}" type="pres">
      <dgm:prSet presAssocID="{26F03236-D87C-4804-B229-229BFA7B4786}" presName="LevelTwoTextNode" presStyleLbl="node4" presStyleIdx="2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CABA4DEE-58C2-4556-AE2A-65E504CBF5EC}" type="pres">
      <dgm:prSet presAssocID="{26F03236-D87C-4804-B229-229BFA7B4786}" presName="level3hierChild" presStyleCnt="0"/>
      <dgm:spPr/>
    </dgm:pt>
    <dgm:pt modelId="{9C9ABE0D-EFCF-45B0-B976-4C8BF2331F1C}" type="pres">
      <dgm:prSet presAssocID="{07F248AC-644B-43ED-B6E8-CEA3877F3FA8}" presName="conn2-1" presStyleLbl="parChTrans1D3" presStyleIdx="3" presStyleCnt="13"/>
      <dgm:spPr/>
      <dgm:t>
        <a:bodyPr/>
        <a:lstStyle/>
        <a:p>
          <a:endParaRPr lang="en-GB"/>
        </a:p>
      </dgm:t>
    </dgm:pt>
    <dgm:pt modelId="{24BEB037-EECC-491A-8E0F-361C8F16B1BF}" type="pres">
      <dgm:prSet presAssocID="{07F248AC-644B-43ED-B6E8-CEA3877F3FA8}" presName="connTx" presStyleLbl="parChTrans1D3" presStyleIdx="3" presStyleCnt="13"/>
      <dgm:spPr/>
      <dgm:t>
        <a:bodyPr/>
        <a:lstStyle/>
        <a:p>
          <a:endParaRPr lang="en-GB"/>
        </a:p>
      </dgm:t>
    </dgm:pt>
    <dgm:pt modelId="{007580E9-BC1F-485B-8ACD-34DD0DF37910}" type="pres">
      <dgm:prSet presAssocID="{3F04625A-638B-49DB-A49B-888BBD564084}" presName="root2" presStyleCnt="0"/>
      <dgm:spPr/>
    </dgm:pt>
    <dgm:pt modelId="{11E38B37-816D-4742-88D4-570909B57085}" type="pres">
      <dgm:prSet presAssocID="{3F04625A-638B-49DB-A49B-888BBD564084}" presName="LevelTwoTextNode" presStyleLbl="node3" presStyleIdx="3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957E4717-E8F0-488C-AB1F-837177BB35E5}" type="pres">
      <dgm:prSet presAssocID="{3F04625A-638B-49DB-A49B-888BBD564084}" presName="level3hierChild" presStyleCnt="0"/>
      <dgm:spPr/>
    </dgm:pt>
    <dgm:pt modelId="{A1771AD8-E19A-4A6D-B91B-E651DA1212A6}" type="pres">
      <dgm:prSet presAssocID="{3EA0DA7A-7FFB-4D02-9A72-85BCA3799B7A}" presName="conn2-1" presStyleLbl="parChTrans1D4" presStyleIdx="3" presStyleCnt="14"/>
      <dgm:spPr/>
      <dgm:t>
        <a:bodyPr/>
        <a:lstStyle/>
        <a:p>
          <a:endParaRPr lang="en-GB"/>
        </a:p>
      </dgm:t>
    </dgm:pt>
    <dgm:pt modelId="{785C421A-BAD1-47F7-8A55-5C0E2C712449}" type="pres">
      <dgm:prSet presAssocID="{3EA0DA7A-7FFB-4D02-9A72-85BCA3799B7A}" presName="connTx" presStyleLbl="parChTrans1D4" presStyleIdx="3" presStyleCnt="14"/>
      <dgm:spPr/>
      <dgm:t>
        <a:bodyPr/>
        <a:lstStyle/>
        <a:p>
          <a:endParaRPr lang="en-GB"/>
        </a:p>
      </dgm:t>
    </dgm:pt>
    <dgm:pt modelId="{38E929CE-4AB4-4AF8-9785-0BF46F3A2645}" type="pres">
      <dgm:prSet presAssocID="{E4A4F3A3-A3FA-41D0-9C79-AD43B2374A19}" presName="root2" presStyleCnt="0"/>
      <dgm:spPr/>
    </dgm:pt>
    <dgm:pt modelId="{03C174CB-0D81-48B0-8B36-9B605FA21759}" type="pres">
      <dgm:prSet presAssocID="{E4A4F3A3-A3FA-41D0-9C79-AD43B2374A19}" presName="LevelTwoTextNode" presStyleLbl="node4" presStyleIdx="3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01002FA6-0C7F-47DB-97E6-0FC7C90E7908}" type="pres">
      <dgm:prSet presAssocID="{E4A4F3A3-A3FA-41D0-9C79-AD43B2374A19}" presName="level3hierChild" presStyleCnt="0"/>
      <dgm:spPr/>
    </dgm:pt>
    <dgm:pt modelId="{75AA4841-E212-45A6-8CB8-980E7A9C01B7}" type="pres">
      <dgm:prSet presAssocID="{52BFC127-4197-4DFC-B1F6-A5FF2A1BE7EE}" presName="conn2-1" presStyleLbl="parChTrans1D2" presStyleIdx="1" presStyleCnt="5"/>
      <dgm:spPr/>
      <dgm:t>
        <a:bodyPr/>
        <a:lstStyle/>
        <a:p>
          <a:endParaRPr lang="en-GB"/>
        </a:p>
      </dgm:t>
    </dgm:pt>
    <dgm:pt modelId="{9C5908F0-DA4D-47E0-AE01-1B274869A559}" type="pres">
      <dgm:prSet presAssocID="{52BFC127-4197-4DFC-B1F6-A5FF2A1BE7EE}" presName="connTx" presStyleLbl="parChTrans1D2" presStyleIdx="1" presStyleCnt="5"/>
      <dgm:spPr/>
      <dgm:t>
        <a:bodyPr/>
        <a:lstStyle/>
        <a:p>
          <a:endParaRPr lang="en-GB"/>
        </a:p>
      </dgm:t>
    </dgm:pt>
    <dgm:pt modelId="{D2D43A8F-D705-44F2-9A46-C0F63D26A4BB}" type="pres">
      <dgm:prSet presAssocID="{FE864D7C-D88F-47CF-AB2D-1BB782F0F8C5}" presName="root2" presStyleCnt="0"/>
      <dgm:spPr/>
    </dgm:pt>
    <dgm:pt modelId="{9B279246-7754-46C5-A14E-996138D2A9C8}" type="pres">
      <dgm:prSet presAssocID="{FE864D7C-D88F-47CF-AB2D-1BB782F0F8C5}" presName="LevelTwoTextNode" presStyleLbl="node2" presStyleIdx="1" presStyleCnt="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75C5E60C-7D5C-4B8C-8B40-D058954D22C9}" type="pres">
      <dgm:prSet presAssocID="{FE864D7C-D88F-47CF-AB2D-1BB782F0F8C5}" presName="level3hierChild" presStyleCnt="0"/>
      <dgm:spPr/>
    </dgm:pt>
    <dgm:pt modelId="{6EB51B8C-2C0F-42EF-BA83-23780C46EBB5}" type="pres">
      <dgm:prSet presAssocID="{8EDE9927-9441-4D7B-B33F-3A06432054B9}" presName="conn2-1" presStyleLbl="parChTrans1D3" presStyleIdx="4" presStyleCnt="13"/>
      <dgm:spPr/>
      <dgm:t>
        <a:bodyPr/>
        <a:lstStyle/>
        <a:p>
          <a:endParaRPr lang="en-GB"/>
        </a:p>
      </dgm:t>
    </dgm:pt>
    <dgm:pt modelId="{C8C62441-FC64-4F00-B340-BEFFCDD8DDBA}" type="pres">
      <dgm:prSet presAssocID="{8EDE9927-9441-4D7B-B33F-3A06432054B9}" presName="connTx" presStyleLbl="parChTrans1D3" presStyleIdx="4" presStyleCnt="13"/>
      <dgm:spPr/>
      <dgm:t>
        <a:bodyPr/>
        <a:lstStyle/>
        <a:p>
          <a:endParaRPr lang="en-GB"/>
        </a:p>
      </dgm:t>
    </dgm:pt>
    <dgm:pt modelId="{6016ABC6-0AEC-471B-BB85-B82711EACB0D}" type="pres">
      <dgm:prSet presAssocID="{408FC791-ACE9-4584-9D58-FFDA4E04529A}" presName="root2" presStyleCnt="0"/>
      <dgm:spPr/>
    </dgm:pt>
    <dgm:pt modelId="{C75FB6BE-918C-4449-B722-82193576732C}" type="pres">
      <dgm:prSet presAssocID="{408FC791-ACE9-4584-9D58-FFDA4E04529A}" presName="LevelTwoTextNode" presStyleLbl="node3" presStyleIdx="4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95AC4217-48E8-4867-92B4-69D6C19DFD9C}" type="pres">
      <dgm:prSet presAssocID="{408FC791-ACE9-4584-9D58-FFDA4E04529A}" presName="level3hierChild" presStyleCnt="0"/>
      <dgm:spPr/>
    </dgm:pt>
    <dgm:pt modelId="{5D5FF251-4F3E-4C3A-82CD-CEDDAC51DAC5}" type="pres">
      <dgm:prSet presAssocID="{38CEEF69-799E-4CBC-B1C6-1327658BBAA4}" presName="conn2-1" presStyleLbl="parChTrans1D4" presStyleIdx="4" presStyleCnt="14"/>
      <dgm:spPr/>
      <dgm:t>
        <a:bodyPr/>
        <a:lstStyle/>
        <a:p>
          <a:endParaRPr lang="en-GB"/>
        </a:p>
      </dgm:t>
    </dgm:pt>
    <dgm:pt modelId="{35F72A11-8F91-4B6D-BFFB-DC413B1C0AD6}" type="pres">
      <dgm:prSet presAssocID="{38CEEF69-799E-4CBC-B1C6-1327658BBAA4}" presName="connTx" presStyleLbl="parChTrans1D4" presStyleIdx="4" presStyleCnt="14"/>
      <dgm:spPr/>
      <dgm:t>
        <a:bodyPr/>
        <a:lstStyle/>
        <a:p>
          <a:endParaRPr lang="en-GB"/>
        </a:p>
      </dgm:t>
    </dgm:pt>
    <dgm:pt modelId="{88502710-3F90-487F-B051-F6BFFCFC7FB1}" type="pres">
      <dgm:prSet presAssocID="{5A656120-56FA-4102-8F13-945AA35E2791}" presName="root2" presStyleCnt="0"/>
      <dgm:spPr/>
    </dgm:pt>
    <dgm:pt modelId="{B10000DC-6505-454C-A326-6DCD9E81335B}" type="pres">
      <dgm:prSet presAssocID="{5A656120-56FA-4102-8F13-945AA35E2791}" presName="LevelTwoTextNode" presStyleLbl="node4" presStyleIdx="4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F3CFBBBE-6706-4F8B-B6F9-BD76784070A8}" type="pres">
      <dgm:prSet presAssocID="{5A656120-56FA-4102-8F13-945AA35E2791}" presName="level3hierChild" presStyleCnt="0"/>
      <dgm:spPr/>
    </dgm:pt>
    <dgm:pt modelId="{8438AB9D-B5BF-4241-AA21-A9E7DEA53153}" type="pres">
      <dgm:prSet presAssocID="{A7A475C8-4405-43D8-8AEE-530FE30F0E11}" presName="conn2-1" presStyleLbl="parChTrans1D3" presStyleIdx="5" presStyleCnt="13"/>
      <dgm:spPr/>
      <dgm:t>
        <a:bodyPr/>
        <a:lstStyle/>
        <a:p>
          <a:endParaRPr lang="en-US"/>
        </a:p>
      </dgm:t>
    </dgm:pt>
    <dgm:pt modelId="{65F484B4-F682-4175-90B7-E02E8B4CBAA9}" type="pres">
      <dgm:prSet presAssocID="{A7A475C8-4405-43D8-8AEE-530FE30F0E11}" presName="connTx" presStyleLbl="parChTrans1D3" presStyleIdx="5" presStyleCnt="13"/>
      <dgm:spPr/>
      <dgm:t>
        <a:bodyPr/>
        <a:lstStyle/>
        <a:p>
          <a:endParaRPr lang="en-US"/>
        </a:p>
      </dgm:t>
    </dgm:pt>
    <dgm:pt modelId="{DA9EA1A1-71A3-4574-A75F-58D636670CB6}" type="pres">
      <dgm:prSet presAssocID="{8E729F98-CE4F-4F95-B2AE-68FDF89FCFDB}" presName="root2" presStyleCnt="0"/>
      <dgm:spPr/>
    </dgm:pt>
    <dgm:pt modelId="{112EB765-CDB0-4916-9E42-D72BEC2B73C1}" type="pres">
      <dgm:prSet presAssocID="{8E729F98-CE4F-4F95-B2AE-68FDF89FCFDB}" presName="LevelTwoTextNode" presStyleLbl="node3" presStyleIdx="5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F10712CA-5F1C-4B92-AB61-AD83B88AE786}" type="pres">
      <dgm:prSet presAssocID="{8E729F98-CE4F-4F95-B2AE-68FDF89FCFDB}" presName="level3hierChild" presStyleCnt="0"/>
      <dgm:spPr/>
    </dgm:pt>
    <dgm:pt modelId="{D9C64F90-3A2A-4F74-9758-68B008977C02}" type="pres">
      <dgm:prSet presAssocID="{8D640311-0352-4B61-8CDC-6D5638593B06}" presName="conn2-1" presStyleLbl="parChTrans1D4" presStyleIdx="5" presStyleCnt="14"/>
      <dgm:spPr/>
      <dgm:t>
        <a:bodyPr/>
        <a:lstStyle/>
        <a:p>
          <a:endParaRPr lang="en-US"/>
        </a:p>
      </dgm:t>
    </dgm:pt>
    <dgm:pt modelId="{9FA61F90-7677-4D6E-8F41-6919FD19BCDC}" type="pres">
      <dgm:prSet presAssocID="{8D640311-0352-4B61-8CDC-6D5638593B06}" presName="connTx" presStyleLbl="parChTrans1D4" presStyleIdx="5" presStyleCnt="14"/>
      <dgm:spPr/>
      <dgm:t>
        <a:bodyPr/>
        <a:lstStyle/>
        <a:p>
          <a:endParaRPr lang="en-US"/>
        </a:p>
      </dgm:t>
    </dgm:pt>
    <dgm:pt modelId="{CD5959E3-DAF9-4A0E-88F9-F6B2B506FFC7}" type="pres">
      <dgm:prSet presAssocID="{C6FF9136-67E8-4B29-B90D-864D72948DDC}" presName="root2" presStyleCnt="0"/>
      <dgm:spPr/>
    </dgm:pt>
    <dgm:pt modelId="{0C9A6F18-099D-4CB6-AEC9-8F0AAF53FF8C}" type="pres">
      <dgm:prSet presAssocID="{C6FF9136-67E8-4B29-B90D-864D72948DDC}" presName="LevelTwoTextNode" presStyleLbl="node4" presStyleIdx="5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85F44828-3E90-46E2-92C8-3E169B49CF54}" type="pres">
      <dgm:prSet presAssocID="{C6FF9136-67E8-4B29-B90D-864D72948DDC}" presName="level3hierChild" presStyleCnt="0"/>
      <dgm:spPr/>
    </dgm:pt>
    <dgm:pt modelId="{F4656B59-9D11-4955-B1B0-005B75765283}" type="pres">
      <dgm:prSet presAssocID="{709E93A7-E2FB-44F5-9720-A4E1146F9131}" presName="conn2-1" presStyleLbl="parChTrans1D3" presStyleIdx="6" presStyleCnt="13"/>
      <dgm:spPr/>
      <dgm:t>
        <a:bodyPr/>
        <a:lstStyle/>
        <a:p>
          <a:endParaRPr lang="en-GB"/>
        </a:p>
      </dgm:t>
    </dgm:pt>
    <dgm:pt modelId="{2FE83C35-6E9B-4CA4-8165-3BADCD04B595}" type="pres">
      <dgm:prSet presAssocID="{709E93A7-E2FB-44F5-9720-A4E1146F9131}" presName="connTx" presStyleLbl="parChTrans1D3" presStyleIdx="6" presStyleCnt="13"/>
      <dgm:spPr/>
      <dgm:t>
        <a:bodyPr/>
        <a:lstStyle/>
        <a:p>
          <a:endParaRPr lang="en-GB"/>
        </a:p>
      </dgm:t>
    </dgm:pt>
    <dgm:pt modelId="{D805338C-DEF9-4289-A7A9-914CB71246F3}" type="pres">
      <dgm:prSet presAssocID="{FB25B6DF-70F4-4B1F-B6DD-28A8A54B6C0D}" presName="root2" presStyleCnt="0"/>
      <dgm:spPr/>
    </dgm:pt>
    <dgm:pt modelId="{7F9D759E-01C6-42F2-9955-A6F4188FE5AC}" type="pres">
      <dgm:prSet presAssocID="{FB25B6DF-70F4-4B1F-B6DD-28A8A54B6C0D}" presName="LevelTwoTextNode" presStyleLbl="node3" presStyleIdx="6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9C8AC5FD-FDC6-4011-B30B-2C88A71E9006}" type="pres">
      <dgm:prSet presAssocID="{FB25B6DF-70F4-4B1F-B6DD-28A8A54B6C0D}" presName="level3hierChild" presStyleCnt="0"/>
      <dgm:spPr/>
    </dgm:pt>
    <dgm:pt modelId="{86507B1A-246E-4960-B71E-4440D455B118}" type="pres">
      <dgm:prSet presAssocID="{C3B545B2-B8E6-4643-9F27-2A0D17F76102}" presName="conn2-1" presStyleLbl="parChTrans1D4" presStyleIdx="6" presStyleCnt="14"/>
      <dgm:spPr/>
      <dgm:t>
        <a:bodyPr/>
        <a:lstStyle/>
        <a:p>
          <a:endParaRPr lang="en-GB"/>
        </a:p>
      </dgm:t>
    </dgm:pt>
    <dgm:pt modelId="{3D5E7BFA-B6B2-45BF-9FF7-6629D5C3F93D}" type="pres">
      <dgm:prSet presAssocID="{C3B545B2-B8E6-4643-9F27-2A0D17F76102}" presName="connTx" presStyleLbl="parChTrans1D4" presStyleIdx="6" presStyleCnt="14"/>
      <dgm:spPr/>
      <dgm:t>
        <a:bodyPr/>
        <a:lstStyle/>
        <a:p>
          <a:endParaRPr lang="en-GB"/>
        </a:p>
      </dgm:t>
    </dgm:pt>
    <dgm:pt modelId="{EA60BFE1-0580-4A5F-9AE2-BA1DBF472877}" type="pres">
      <dgm:prSet presAssocID="{514658EC-4B3A-4750-862A-45084E380607}" presName="root2" presStyleCnt="0"/>
      <dgm:spPr/>
    </dgm:pt>
    <dgm:pt modelId="{7C20DA3D-4130-444E-A21B-651D8D4F1629}" type="pres">
      <dgm:prSet presAssocID="{514658EC-4B3A-4750-862A-45084E380607}" presName="LevelTwoTextNode" presStyleLbl="node4" presStyleIdx="6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ACF5744F-DD56-4D11-A4B2-C246F4A13273}" type="pres">
      <dgm:prSet presAssocID="{514658EC-4B3A-4750-862A-45084E380607}" presName="level3hierChild" presStyleCnt="0"/>
      <dgm:spPr/>
    </dgm:pt>
    <dgm:pt modelId="{13E11B18-65FA-4052-963E-DBBDED4506CC}" type="pres">
      <dgm:prSet presAssocID="{6424C92E-0E28-4E48-A51C-9CB8EEB5B69E}" presName="conn2-1" presStyleLbl="parChTrans1D3" presStyleIdx="7" presStyleCnt="13"/>
      <dgm:spPr/>
      <dgm:t>
        <a:bodyPr/>
        <a:lstStyle/>
        <a:p>
          <a:endParaRPr lang="en-GB"/>
        </a:p>
      </dgm:t>
    </dgm:pt>
    <dgm:pt modelId="{CD7B5AB3-2BF0-4203-9964-D1E46EE356B3}" type="pres">
      <dgm:prSet presAssocID="{6424C92E-0E28-4E48-A51C-9CB8EEB5B69E}" presName="connTx" presStyleLbl="parChTrans1D3" presStyleIdx="7" presStyleCnt="13"/>
      <dgm:spPr/>
      <dgm:t>
        <a:bodyPr/>
        <a:lstStyle/>
        <a:p>
          <a:endParaRPr lang="en-GB"/>
        </a:p>
      </dgm:t>
    </dgm:pt>
    <dgm:pt modelId="{12907156-DA9C-4C5F-877D-B83FCBFEB644}" type="pres">
      <dgm:prSet presAssocID="{53313C4D-9A2F-4A60-8833-61D6052D4921}" presName="root2" presStyleCnt="0"/>
      <dgm:spPr/>
    </dgm:pt>
    <dgm:pt modelId="{E8BA7911-EDDE-465F-BA01-3D75DCBFCEAD}" type="pres">
      <dgm:prSet presAssocID="{53313C4D-9A2F-4A60-8833-61D6052D4921}" presName="LevelTwoTextNode" presStyleLbl="node3" presStyleIdx="7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07FC2A86-B984-4075-B95D-4E10549C0CED}" type="pres">
      <dgm:prSet presAssocID="{53313C4D-9A2F-4A60-8833-61D6052D4921}" presName="level3hierChild" presStyleCnt="0"/>
      <dgm:spPr/>
    </dgm:pt>
    <dgm:pt modelId="{8D090EA9-599D-4E10-94BE-D6F613CC3727}" type="pres">
      <dgm:prSet presAssocID="{574879CF-29F8-4D1F-B6C7-C5DF86640D70}" presName="conn2-1" presStyleLbl="parChTrans1D4" presStyleIdx="7" presStyleCnt="14"/>
      <dgm:spPr/>
      <dgm:t>
        <a:bodyPr/>
        <a:lstStyle/>
        <a:p>
          <a:endParaRPr lang="en-GB"/>
        </a:p>
      </dgm:t>
    </dgm:pt>
    <dgm:pt modelId="{1608FA00-A918-403E-97E9-054F7A979823}" type="pres">
      <dgm:prSet presAssocID="{574879CF-29F8-4D1F-B6C7-C5DF86640D70}" presName="connTx" presStyleLbl="parChTrans1D4" presStyleIdx="7" presStyleCnt="14"/>
      <dgm:spPr/>
      <dgm:t>
        <a:bodyPr/>
        <a:lstStyle/>
        <a:p>
          <a:endParaRPr lang="en-GB"/>
        </a:p>
      </dgm:t>
    </dgm:pt>
    <dgm:pt modelId="{9DD9F076-B00D-41CF-8190-4B9B91EC62F7}" type="pres">
      <dgm:prSet presAssocID="{8E1DC07C-4064-4B26-BBF2-306A21C98145}" presName="root2" presStyleCnt="0"/>
      <dgm:spPr/>
    </dgm:pt>
    <dgm:pt modelId="{DE7ADCB6-C43E-4A0E-865B-4487EB9D6ABE}" type="pres">
      <dgm:prSet presAssocID="{8E1DC07C-4064-4B26-BBF2-306A21C98145}" presName="LevelTwoTextNode" presStyleLbl="node4" presStyleIdx="7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B53F00FB-8BCC-4E35-B1EF-AE17F0C01EA5}" type="pres">
      <dgm:prSet presAssocID="{8E1DC07C-4064-4B26-BBF2-306A21C98145}" presName="level3hierChild" presStyleCnt="0"/>
      <dgm:spPr/>
    </dgm:pt>
    <dgm:pt modelId="{9455C8F2-F22C-4500-BF7B-99D088CF0C03}" type="pres">
      <dgm:prSet presAssocID="{9FC8F638-6CF3-4E9C-93D9-73FC3F4B755D}" presName="conn2-1" presStyleLbl="parChTrans1D2" presStyleIdx="2" presStyleCnt="5"/>
      <dgm:spPr/>
      <dgm:t>
        <a:bodyPr/>
        <a:lstStyle/>
        <a:p>
          <a:endParaRPr lang="en-GB"/>
        </a:p>
      </dgm:t>
    </dgm:pt>
    <dgm:pt modelId="{A0863CEC-2142-43A5-AA35-327A9E9F2AFA}" type="pres">
      <dgm:prSet presAssocID="{9FC8F638-6CF3-4E9C-93D9-73FC3F4B755D}" presName="connTx" presStyleLbl="parChTrans1D2" presStyleIdx="2" presStyleCnt="5"/>
      <dgm:spPr/>
      <dgm:t>
        <a:bodyPr/>
        <a:lstStyle/>
        <a:p>
          <a:endParaRPr lang="en-GB"/>
        </a:p>
      </dgm:t>
    </dgm:pt>
    <dgm:pt modelId="{F8D38B20-5DCF-4524-AC62-4A69B82CABC0}" type="pres">
      <dgm:prSet presAssocID="{EA23B32D-0740-47A5-88F1-BB0A47C3CD29}" presName="root2" presStyleCnt="0"/>
      <dgm:spPr/>
    </dgm:pt>
    <dgm:pt modelId="{B7DF67D2-BE40-4FCA-90A5-AC5C17737B78}" type="pres">
      <dgm:prSet presAssocID="{EA23B32D-0740-47A5-88F1-BB0A47C3CD29}" presName="LevelTwoTextNode" presStyleLbl="node2" presStyleIdx="2" presStyleCnt="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8F48F9BE-9A32-4999-9CD7-94AC591F8BBC}" type="pres">
      <dgm:prSet presAssocID="{EA23B32D-0740-47A5-88F1-BB0A47C3CD29}" presName="level3hierChild" presStyleCnt="0"/>
      <dgm:spPr/>
    </dgm:pt>
    <dgm:pt modelId="{B47B1EE5-1FCD-4400-8367-4D8676891FB9}" type="pres">
      <dgm:prSet presAssocID="{2C1188E8-7512-4A69-AA12-724894289E7F}" presName="conn2-1" presStyleLbl="parChTrans1D3" presStyleIdx="8" presStyleCnt="13"/>
      <dgm:spPr/>
      <dgm:t>
        <a:bodyPr/>
        <a:lstStyle/>
        <a:p>
          <a:endParaRPr lang="en-GB"/>
        </a:p>
      </dgm:t>
    </dgm:pt>
    <dgm:pt modelId="{A1F62238-81EC-4C6E-BB50-6B6EFEEC68A2}" type="pres">
      <dgm:prSet presAssocID="{2C1188E8-7512-4A69-AA12-724894289E7F}" presName="connTx" presStyleLbl="parChTrans1D3" presStyleIdx="8" presStyleCnt="13"/>
      <dgm:spPr/>
      <dgm:t>
        <a:bodyPr/>
        <a:lstStyle/>
        <a:p>
          <a:endParaRPr lang="en-GB"/>
        </a:p>
      </dgm:t>
    </dgm:pt>
    <dgm:pt modelId="{9AD161B3-7F2E-4C02-BB9D-8ABEC7C0BBE9}" type="pres">
      <dgm:prSet presAssocID="{46488CC1-FE34-4575-AFA2-A31FE44C18AF}" presName="root2" presStyleCnt="0"/>
      <dgm:spPr/>
    </dgm:pt>
    <dgm:pt modelId="{FA08A9BB-ADE7-46F7-8CE5-71275297295B}" type="pres">
      <dgm:prSet presAssocID="{46488CC1-FE34-4575-AFA2-A31FE44C18AF}" presName="LevelTwoTextNode" presStyleLbl="node3" presStyleIdx="8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C0DBC41B-7CD6-46B1-B521-C6A557E496ED}" type="pres">
      <dgm:prSet presAssocID="{46488CC1-FE34-4575-AFA2-A31FE44C18AF}" presName="level3hierChild" presStyleCnt="0"/>
      <dgm:spPr/>
    </dgm:pt>
    <dgm:pt modelId="{BC817E31-50F4-4EE8-8573-7644FA59AE5E}" type="pres">
      <dgm:prSet presAssocID="{CFAF5E4B-E910-4CAA-B966-FD4EBEACA99A}" presName="conn2-1" presStyleLbl="parChTrans1D4" presStyleIdx="8" presStyleCnt="14"/>
      <dgm:spPr/>
      <dgm:t>
        <a:bodyPr/>
        <a:lstStyle/>
        <a:p>
          <a:endParaRPr lang="en-GB"/>
        </a:p>
      </dgm:t>
    </dgm:pt>
    <dgm:pt modelId="{A8DA3406-B764-4839-BEF2-0F7C93E038FC}" type="pres">
      <dgm:prSet presAssocID="{CFAF5E4B-E910-4CAA-B966-FD4EBEACA99A}" presName="connTx" presStyleLbl="parChTrans1D4" presStyleIdx="8" presStyleCnt="14"/>
      <dgm:spPr/>
      <dgm:t>
        <a:bodyPr/>
        <a:lstStyle/>
        <a:p>
          <a:endParaRPr lang="en-GB"/>
        </a:p>
      </dgm:t>
    </dgm:pt>
    <dgm:pt modelId="{C35D976C-4FB0-46FE-BC37-ECA745DC05E7}" type="pres">
      <dgm:prSet presAssocID="{AE53C03C-408F-4FBE-B468-CAAC5B3466A2}" presName="root2" presStyleCnt="0"/>
      <dgm:spPr/>
    </dgm:pt>
    <dgm:pt modelId="{5AEA799C-22DA-4DF1-B48D-E880B7012380}" type="pres">
      <dgm:prSet presAssocID="{AE53C03C-408F-4FBE-B468-CAAC5B3466A2}" presName="LevelTwoTextNode" presStyleLbl="node4" presStyleIdx="8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65DC03F5-CB7B-42D8-A100-28751C0BA239}" type="pres">
      <dgm:prSet presAssocID="{AE53C03C-408F-4FBE-B468-CAAC5B3466A2}" presName="level3hierChild" presStyleCnt="0"/>
      <dgm:spPr/>
    </dgm:pt>
    <dgm:pt modelId="{0CD6B3CA-8178-4904-B5D7-40E9E66FED05}" type="pres">
      <dgm:prSet presAssocID="{A3BF068A-8530-46DA-870D-1B2F1930E3A3}" presName="conn2-1" presStyleLbl="parChTrans1D3" presStyleIdx="9" presStyleCnt="13"/>
      <dgm:spPr/>
      <dgm:t>
        <a:bodyPr/>
        <a:lstStyle/>
        <a:p>
          <a:endParaRPr lang="en-GB"/>
        </a:p>
      </dgm:t>
    </dgm:pt>
    <dgm:pt modelId="{4A8E4241-C6CF-4259-8CD4-EC3F159A419E}" type="pres">
      <dgm:prSet presAssocID="{A3BF068A-8530-46DA-870D-1B2F1930E3A3}" presName="connTx" presStyleLbl="parChTrans1D3" presStyleIdx="9" presStyleCnt="13"/>
      <dgm:spPr/>
      <dgm:t>
        <a:bodyPr/>
        <a:lstStyle/>
        <a:p>
          <a:endParaRPr lang="en-GB"/>
        </a:p>
      </dgm:t>
    </dgm:pt>
    <dgm:pt modelId="{3EC99BE2-53A1-4B55-B544-7E7BA98AE5FE}" type="pres">
      <dgm:prSet presAssocID="{40B1CD4F-15C8-4160-8BA8-35C0EFAACDB3}" presName="root2" presStyleCnt="0"/>
      <dgm:spPr/>
    </dgm:pt>
    <dgm:pt modelId="{45A12A60-4DB4-4215-9955-3642E4B9F4DC}" type="pres">
      <dgm:prSet presAssocID="{40B1CD4F-15C8-4160-8BA8-35C0EFAACDB3}" presName="LevelTwoTextNode" presStyleLbl="node3" presStyleIdx="9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CCF4D6DF-BDA2-49B1-9BD6-DE6F5CE05D73}" type="pres">
      <dgm:prSet presAssocID="{40B1CD4F-15C8-4160-8BA8-35C0EFAACDB3}" presName="level3hierChild" presStyleCnt="0"/>
      <dgm:spPr/>
    </dgm:pt>
    <dgm:pt modelId="{0747899D-A0A4-47A8-B98E-0583690DABE9}" type="pres">
      <dgm:prSet presAssocID="{D2A07A60-319C-46EA-8993-778539FE4373}" presName="conn2-1" presStyleLbl="parChTrans1D4" presStyleIdx="9" presStyleCnt="14"/>
      <dgm:spPr/>
      <dgm:t>
        <a:bodyPr/>
        <a:lstStyle/>
        <a:p>
          <a:endParaRPr lang="en-GB"/>
        </a:p>
      </dgm:t>
    </dgm:pt>
    <dgm:pt modelId="{86C01574-BC6E-4FA2-81A6-5D4D88A7EFA3}" type="pres">
      <dgm:prSet presAssocID="{D2A07A60-319C-46EA-8993-778539FE4373}" presName="connTx" presStyleLbl="parChTrans1D4" presStyleIdx="9" presStyleCnt="14"/>
      <dgm:spPr/>
      <dgm:t>
        <a:bodyPr/>
        <a:lstStyle/>
        <a:p>
          <a:endParaRPr lang="en-GB"/>
        </a:p>
      </dgm:t>
    </dgm:pt>
    <dgm:pt modelId="{C5CA9B4D-25EE-4EE9-94EE-6ED7097C7A9A}" type="pres">
      <dgm:prSet presAssocID="{B33726CC-9AFD-4214-AD7D-ECAF1BC9D27E}" presName="root2" presStyleCnt="0"/>
      <dgm:spPr/>
    </dgm:pt>
    <dgm:pt modelId="{A06CC969-3612-4D5A-806B-F9D6DC13380C}" type="pres">
      <dgm:prSet presAssocID="{B33726CC-9AFD-4214-AD7D-ECAF1BC9D27E}" presName="LevelTwoTextNode" presStyleLbl="node4" presStyleIdx="9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0B588442-5A48-4318-B81F-950ABA262BC8}" type="pres">
      <dgm:prSet presAssocID="{B33726CC-9AFD-4214-AD7D-ECAF1BC9D27E}" presName="level3hierChild" presStyleCnt="0"/>
      <dgm:spPr/>
    </dgm:pt>
    <dgm:pt modelId="{15BDF5E6-E42B-4855-977F-223FA9796A3C}" type="pres">
      <dgm:prSet presAssocID="{791B2664-4A69-4AF3-9063-F3A3CE135CE4}" presName="conn2-1" presStyleLbl="parChTrans1D3" presStyleIdx="10" presStyleCnt="13"/>
      <dgm:spPr/>
      <dgm:t>
        <a:bodyPr/>
        <a:lstStyle/>
        <a:p>
          <a:endParaRPr lang="en-GB"/>
        </a:p>
      </dgm:t>
    </dgm:pt>
    <dgm:pt modelId="{CF7A05B4-9775-46E1-A05F-8FDF5737D805}" type="pres">
      <dgm:prSet presAssocID="{791B2664-4A69-4AF3-9063-F3A3CE135CE4}" presName="connTx" presStyleLbl="parChTrans1D3" presStyleIdx="10" presStyleCnt="13"/>
      <dgm:spPr/>
      <dgm:t>
        <a:bodyPr/>
        <a:lstStyle/>
        <a:p>
          <a:endParaRPr lang="en-GB"/>
        </a:p>
      </dgm:t>
    </dgm:pt>
    <dgm:pt modelId="{0ECC402C-3122-40A1-A1EF-F756601F9834}" type="pres">
      <dgm:prSet presAssocID="{1D70A45E-E06B-4C27-8E8A-248E81E9A762}" presName="root2" presStyleCnt="0"/>
      <dgm:spPr/>
    </dgm:pt>
    <dgm:pt modelId="{C090270F-8E2A-4766-B255-11BBC9816288}" type="pres">
      <dgm:prSet presAssocID="{1D70A45E-E06B-4C27-8E8A-248E81E9A762}" presName="LevelTwoTextNode" presStyleLbl="node3" presStyleIdx="10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A65C81D8-8080-4632-9CD9-4254BB05B59D}" type="pres">
      <dgm:prSet presAssocID="{1D70A45E-E06B-4C27-8E8A-248E81E9A762}" presName="level3hierChild" presStyleCnt="0"/>
      <dgm:spPr/>
    </dgm:pt>
    <dgm:pt modelId="{D63E0CB8-2757-4526-A7CB-540150645A9F}" type="pres">
      <dgm:prSet presAssocID="{A20580E5-F740-443E-9147-85E623CAEBF3}" presName="conn2-1" presStyleLbl="parChTrans1D4" presStyleIdx="10" presStyleCnt="14"/>
      <dgm:spPr/>
      <dgm:t>
        <a:bodyPr/>
        <a:lstStyle/>
        <a:p>
          <a:endParaRPr lang="en-GB"/>
        </a:p>
      </dgm:t>
    </dgm:pt>
    <dgm:pt modelId="{F4ECD2AF-0467-4FD2-A41C-FA8F7D25F3C0}" type="pres">
      <dgm:prSet presAssocID="{A20580E5-F740-443E-9147-85E623CAEBF3}" presName="connTx" presStyleLbl="parChTrans1D4" presStyleIdx="10" presStyleCnt="14"/>
      <dgm:spPr/>
      <dgm:t>
        <a:bodyPr/>
        <a:lstStyle/>
        <a:p>
          <a:endParaRPr lang="en-GB"/>
        </a:p>
      </dgm:t>
    </dgm:pt>
    <dgm:pt modelId="{0B165A48-D177-4E47-B33E-0B8BF8200EAE}" type="pres">
      <dgm:prSet presAssocID="{EC5C7E38-E2B4-4A9E-AA6E-36CEA7D6440C}" presName="root2" presStyleCnt="0"/>
      <dgm:spPr/>
    </dgm:pt>
    <dgm:pt modelId="{2CDB35F6-B45B-4F85-B9A7-48646D07DD29}" type="pres">
      <dgm:prSet presAssocID="{EC5C7E38-E2B4-4A9E-AA6E-36CEA7D6440C}" presName="LevelTwoTextNode" presStyleLbl="node4" presStyleIdx="10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3A2B4781-B886-46F6-819D-1DC1E944BBA9}" type="pres">
      <dgm:prSet presAssocID="{EC5C7E38-E2B4-4A9E-AA6E-36CEA7D6440C}" presName="level3hierChild" presStyleCnt="0"/>
      <dgm:spPr/>
    </dgm:pt>
    <dgm:pt modelId="{2FC9680F-F75D-48C0-820C-FED37EA3BD07}" type="pres">
      <dgm:prSet presAssocID="{FDF53EDB-8674-49F7-9943-9416A8140BA8}" presName="conn2-1" presStyleLbl="parChTrans1D4" presStyleIdx="11" presStyleCnt="14"/>
      <dgm:spPr/>
      <dgm:t>
        <a:bodyPr/>
        <a:lstStyle/>
        <a:p>
          <a:endParaRPr lang="en-GB"/>
        </a:p>
      </dgm:t>
    </dgm:pt>
    <dgm:pt modelId="{FA095FFD-FE95-49C9-ABD3-ADFD1F42BD15}" type="pres">
      <dgm:prSet presAssocID="{FDF53EDB-8674-49F7-9943-9416A8140BA8}" presName="connTx" presStyleLbl="parChTrans1D4" presStyleIdx="11" presStyleCnt="14"/>
      <dgm:spPr/>
      <dgm:t>
        <a:bodyPr/>
        <a:lstStyle/>
        <a:p>
          <a:endParaRPr lang="en-GB"/>
        </a:p>
      </dgm:t>
    </dgm:pt>
    <dgm:pt modelId="{9D7E2659-C824-448B-8A28-A66C6B2FD781}" type="pres">
      <dgm:prSet presAssocID="{54516668-DA56-4330-92E1-198B769483A2}" presName="root2" presStyleCnt="0"/>
      <dgm:spPr/>
    </dgm:pt>
    <dgm:pt modelId="{227A6FDD-126B-4229-8CEA-654F546EBA16}" type="pres">
      <dgm:prSet presAssocID="{54516668-DA56-4330-92E1-198B769483A2}" presName="LevelTwoTextNode" presStyleLbl="node4" presStyleIdx="11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73366851-46C6-4C55-AD0D-0BAFC9EB37A3}" type="pres">
      <dgm:prSet presAssocID="{54516668-DA56-4330-92E1-198B769483A2}" presName="level3hierChild" presStyleCnt="0"/>
      <dgm:spPr/>
    </dgm:pt>
    <dgm:pt modelId="{F6B7158F-7788-438C-9A7E-20807CCDAB02}" type="pres">
      <dgm:prSet presAssocID="{EF6C6888-7EBB-4995-9506-3BB643EF5F0B}" presName="conn2-1" presStyleLbl="parChTrans1D2" presStyleIdx="3" presStyleCnt="5"/>
      <dgm:spPr/>
      <dgm:t>
        <a:bodyPr/>
        <a:lstStyle/>
        <a:p>
          <a:endParaRPr lang="en-GB"/>
        </a:p>
      </dgm:t>
    </dgm:pt>
    <dgm:pt modelId="{C04CF883-4837-4A25-99AA-D2AA68C9A5C0}" type="pres">
      <dgm:prSet presAssocID="{EF6C6888-7EBB-4995-9506-3BB643EF5F0B}" presName="connTx" presStyleLbl="parChTrans1D2" presStyleIdx="3" presStyleCnt="5"/>
      <dgm:spPr/>
      <dgm:t>
        <a:bodyPr/>
        <a:lstStyle/>
        <a:p>
          <a:endParaRPr lang="en-GB"/>
        </a:p>
      </dgm:t>
    </dgm:pt>
    <dgm:pt modelId="{38AC8B4E-02CE-4496-A0FC-83679775435D}" type="pres">
      <dgm:prSet presAssocID="{1F40161E-6A13-485A-96F7-BB215BF51CCB}" presName="root2" presStyleCnt="0"/>
      <dgm:spPr/>
    </dgm:pt>
    <dgm:pt modelId="{75D99C70-C8ED-4C62-A117-65C3AA56DA81}" type="pres">
      <dgm:prSet presAssocID="{1F40161E-6A13-485A-96F7-BB215BF51CCB}" presName="LevelTwoTextNode" presStyleLbl="node2" presStyleIdx="3" presStyleCnt="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0D823FE0-4033-4D8F-85CD-7D5245B83A64}" type="pres">
      <dgm:prSet presAssocID="{1F40161E-6A13-485A-96F7-BB215BF51CCB}" presName="level3hierChild" presStyleCnt="0"/>
      <dgm:spPr/>
    </dgm:pt>
    <dgm:pt modelId="{B39BCBFA-FC26-4641-80BB-35FD60BF06EE}" type="pres">
      <dgm:prSet presAssocID="{923F0803-3A4A-45C2-8078-9FDD914D9C7B}" presName="conn2-1" presStyleLbl="parChTrans1D3" presStyleIdx="11" presStyleCnt="13"/>
      <dgm:spPr/>
      <dgm:t>
        <a:bodyPr/>
        <a:lstStyle/>
        <a:p>
          <a:endParaRPr lang="en-GB"/>
        </a:p>
      </dgm:t>
    </dgm:pt>
    <dgm:pt modelId="{52415479-0767-4732-858F-E5D934E3EE33}" type="pres">
      <dgm:prSet presAssocID="{923F0803-3A4A-45C2-8078-9FDD914D9C7B}" presName="connTx" presStyleLbl="parChTrans1D3" presStyleIdx="11" presStyleCnt="13"/>
      <dgm:spPr/>
      <dgm:t>
        <a:bodyPr/>
        <a:lstStyle/>
        <a:p>
          <a:endParaRPr lang="en-GB"/>
        </a:p>
      </dgm:t>
    </dgm:pt>
    <dgm:pt modelId="{5B114F23-3B8E-4001-A2FC-F98C7DEBE573}" type="pres">
      <dgm:prSet presAssocID="{478DB0CC-C4D6-4154-976F-4E6232191E6B}" presName="root2" presStyleCnt="0"/>
      <dgm:spPr/>
    </dgm:pt>
    <dgm:pt modelId="{4533385C-1A61-43A5-8864-3E89D90E6208}" type="pres">
      <dgm:prSet presAssocID="{478DB0CC-C4D6-4154-976F-4E6232191E6B}" presName="LevelTwoTextNode" presStyleLbl="node3" presStyleIdx="11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79DAE207-C325-4481-9FFA-E9B817382DF9}" type="pres">
      <dgm:prSet presAssocID="{478DB0CC-C4D6-4154-976F-4E6232191E6B}" presName="level3hierChild" presStyleCnt="0"/>
      <dgm:spPr/>
    </dgm:pt>
    <dgm:pt modelId="{14F13E58-9C3F-4472-9AFD-C5242D34693D}" type="pres">
      <dgm:prSet presAssocID="{E7B2154B-9139-4EB1-80EF-AFBF11EB0003}" presName="conn2-1" presStyleLbl="parChTrans1D4" presStyleIdx="12" presStyleCnt="14"/>
      <dgm:spPr/>
      <dgm:t>
        <a:bodyPr/>
        <a:lstStyle/>
        <a:p>
          <a:endParaRPr lang="en-GB"/>
        </a:p>
      </dgm:t>
    </dgm:pt>
    <dgm:pt modelId="{157DA45A-2B93-40C5-9B28-7A28C632F814}" type="pres">
      <dgm:prSet presAssocID="{E7B2154B-9139-4EB1-80EF-AFBF11EB0003}" presName="connTx" presStyleLbl="parChTrans1D4" presStyleIdx="12" presStyleCnt="14"/>
      <dgm:spPr/>
      <dgm:t>
        <a:bodyPr/>
        <a:lstStyle/>
        <a:p>
          <a:endParaRPr lang="en-GB"/>
        </a:p>
      </dgm:t>
    </dgm:pt>
    <dgm:pt modelId="{13F3F457-2982-47AD-9617-F2686BEE2786}" type="pres">
      <dgm:prSet presAssocID="{455EAA7B-A1A6-465F-AA4F-D1FE74D481CC}" presName="root2" presStyleCnt="0"/>
      <dgm:spPr/>
    </dgm:pt>
    <dgm:pt modelId="{8B680166-561C-43C2-8A78-49362A1DB696}" type="pres">
      <dgm:prSet presAssocID="{455EAA7B-A1A6-465F-AA4F-D1FE74D481CC}" presName="LevelTwoTextNode" presStyleLbl="node4" presStyleIdx="12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55D78ACE-0A29-4BAC-815B-2488864C5343}" type="pres">
      <dgm:prSet presAssocID="{455EAA7B-A1A6-465F-AA4F-D1FE74D481CC}" presName="level3hierChild" presStyleCnt="0"/>
      <dgm:spPr/>
    </dgm:pt>
    <dgm:pt modelId="{E80FA5E5-D8CE-4F5B-900D-AAEB5E92B152}" type="pres">
      <dgm:prSet presAssocID="{A789A981-B869-4131-B2B0-3B12484695F8}" presName="conn2-1" presStyleLbl="parChTrans1D2" presStyleIdx="4" presStyleCnt="5"/>
      <dgm:spPr/>
      <dgm:t>
        <a:bodyPr/>
        <a:lstStyle/>
        <a:p>
          <a:endParaRPr lang="en-GB"/>
        </a:p>
      </dgm:t>
    </dgm:pt>
    <dgm:pt modelId="{3D448B8F-6657-4857-BEE7-8D1723BF6DE2}" type="pres">
      <dgm:prSet presAssocID="{A789A981-B869-4131-B2B0-3B12484695F8}" presName="connTx" presStyleLbl="parChTrans1D2" presStyleIdx="4" presStyleCnt="5"/>
      <dgm:spPr/>
      <dgm:t>
        <a:bodyPr/>
        <a:lstStyle/>
        <a:p>
          <a:endParaRPr lang="en-GB"/>
        </a:p>
      </dgm:t>
    </dgm:pt>
    <dgm:pt modelId="{E2582631-EFA9-40DA-87B0-ECE31E692018}" type="pres">
      <dgm:prSet presAssocID="{DE8579FC-CEE2-4F8F-B8F9-EC89F3F9DC07}" presName="root2" presStyleCnt="0"/>
      <dgm:spPr/>
    </dgm:pt>
    <dgm:pt modelId="{85757240-03CA-4F1E-8744-333CE197DCA8}" type="pres">
      <dgm:prSet presAssocID="{DE8579FC-CEE2-4F8F-B8F9-EC89F3F9DC07}" presName="LevelTwoTextNode" presStyleLbl="node2" presStyleIdx="4" presStyleCnt="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AA228D21-4238-4B89-8BD4-82DBFA064CAF}" type="pres">
      <dgm:prSet presAssocID="{DE8579FC-CEE2-4F8F-B8F9-EC89F3F9DC07}" presName="level3hierChild" presStyleCnt="0"/>
      <dgm:spPr/>
    </dgm:pt>
    <dgm:pt modelId="{DCE12CC6-C273-448F-A8A0-57DE834E059F}" type="pres">
      <dgm:prSet presAssocID="{57A54395-BD07-49EA-A664-D483B657DD97}" presName="conn2-1" presStyleLbl="parChTrans1D3" presStyleIdx="12" presStyleCnt="13"/>
      <dgm:spPr/>
      <dgm:t>
        <a:bodyPr/>
        <a:lstStyle/>
        <a:p>
          <a:endParaRPr lang="en-GB"/>
        </a:p>
      </dgm:t>
    </dgm:pt>
    <dgm:pt modelId="{11F61879-D1C6-4CE6-A017-C473E96469E5}" type="pres">
      <dgm:prSet presAssocID="{57A54395-BD07-49EA-A664-D483B657DD97}" presName="connTx" presStyleLbl="parChTrans1D3" presStyleIdx="12" presStyleCnt="13"/>
      <dgm:spPr/>
      <dgm:t>
        <a:bodyPr/>
        <a:lstStyle/>
        <a:p>
          <a:endParaRPr lang="en-GB"/>
        </a:p>
      </dgm:t>
    </dgm:pt>
    <dgm:pt modelId="{AAC643DF-2238-46E7-9B0E-CC63402E4B97}" type="pres">
      <dgm:prSet presAssocID="{DC7B4D57-8978-4E50-9A02-98E10A6BA12A}" presName="root2" presStyleCnt="0"/>
      <dgm:spPr/>
    </dgm:pt>
    <dgm:pt modelId="{A3991D5B-7F8D-4004-A423-4BD965D2D235}" type="pres">
      <dgm:prSet presAssocID="{DC7B4D57-8978-4E50-9A02-98E10A6BA12A}" presName="LevelTwoTextNode" presStyleLbl="node3" presStyleIdx="12" presStyleCnt="13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9F9E5495-5671-4495-B3A2-63D6272FC303}" type="pres">
      <dgm:prSet presAssocID="{DC7B4D57-8978-4E50-9A02-98E10A6BA12A}" presName="level3hierChild" presStyleCnt="0"/>
      <dgm:spPr/>
    </dgm:pt>
    <dgm:pt modelId="{271F409F-356F-4F86-B895-E628C33C6F95}" type="pres">
      <dgm:prSet presAssocID="{5025B4EA-48B5-43DE-9FB5-A1CB0FA70A13}" presName="conn2-1" presStyleLbl="parChTrans1D4" presStyleIdx="13" presStyleCnt="14"/>
      <dgm:spPr/>
      <dgm:t>
        <a:bodyPr/>
        <a:lstStyle/>
        <a:p>
          <a:endParaRPr lang="en-GB"/>
        </a:p>
      </dgm:t>
    </dgm:pt>
    <dgm:pt modelId="{B809E223-2A59-4B2A-AEDB-EC141E5FD645}" type="pres">
      <dgm:prSet presAssocID="{5025B4EA-48B5-43DE-9FB5-A1CB0FA70A13}" presName="connTx" presStyleLbl="parChTrans1D4" presStyleIdx="13" presStyleCnt="14"/>
      <dgm:spPr/>
      <dgm:t>
        <a:bodyPr/>
        <a:lstStyle/>
        <a:p>
          <a:endParaRPr lang="en-GB"/>
        </a:p>
      </dgm:t>
    </dgm:pt>
    <dgm:pt modelId="{F955EA7A-27BB-4600-B464-E7258CC36E30}" type="pres">
      <dgm:prSet presAssocID="{390567CA-2D96-4025-8BB0-A27DEC8277F0}" presName="root2" presStyleCnt="0"/>
      <dgm:spPr/>
    </dgm:pt>
    <dgm:pt modelId="{3894F328-A493-447B-A74E-A3CAD567AC81}" type="pres">
      <dgm:prSet presAssocID="{390567CA-2D96-4025-8BB0-A27DEC8277F0}" presName="LevelTwoTextNode" presStyleLbl="node4" presStyleIdx="13" presStyleCnt="14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99B2FA6F-B620-4AA4-B090-84C55499F87C}" type="pres">
      <dgm:prSet presAssocID="{390567CA-2D96-4025-8BB0-A27DEC8277F0}" presName="level3hierChild" presStyleCnt="0"/>
      <dgm:spPr/>
    </dgm:pt>
  </dgm:ptLst>
  <dgm:cxnLst>
    <dgm:cxn modelId="{C773D5EE-31DB-48A2-A431-DFCB2301BEEC}" type="presOf" srcId="{FDF53EDB-8674-49F7-9943-9416A8140BA8}" destId="{2FC9680F-F75D-48C0-820C-FED37EA3BD07}" srcOrd="0" destOrd="0" presId="urn:microsoft.com/office/officeart/2008/layout/HorizontalMultiLevelHierarchy"/>
    <dgm:cxn modelId="{545C3ACB-8D82-4986-B15C-FD9B1C28C9A2}" type="presOf" srcId="{CFAF5E4B-E910-4CAA-B966-FD4EBEACA99A}" destId="{BC817E31-50F4-4EE8-8573-7644FA59AE5E}" srcOrd="0" destOrd="0" presId="urn:microsoft.com/office/officeart/2008/layout/HorizontalMultiLevelHierarchy"/>
    <dgm:cxn modelId="{D0AF4504-C7E9-4F79-9C8F-0DDFDD068B18}" srcId="{8E729F98-CE4F-4F95-B2AE-68FDF89FCFDB}" destId="{C6FF9136-67E8-4B29-B90D-864D72948DDC}" srcOrd="0" destOrd="0" parTransId="{8D640311-0352-4B61-8CDC-6D5638593B06}" sibTransId="{CCF5E9A9-106A-4C5A-B60F-4BDF9C08A5E6}"/>
    <dgm:cxn modelId="{C9A7296A-F59B-418B-80B6-9ABE837C7B3F}" type="presOf" srcId="{A20580E5-F740-443E-9147-85E623CAEBF3}" destId="{F4ECD2AF-0467-4FD2-A41C-FA8F7D25F3C0}" srcOrd="1" destOrd="0" presId="urn:microsoft.com/office/officeart/2008/layout/HorizontalMultiLevelHierarchy"/>
    <dgm:cxn modelId="{5FD3C74F-85CE-4A59-B6A0-3D1C398B052C}" type="presOf" srcId="{54516668-DA56-4330-92E1-198B769483A2}" destId="{227A6FDD-126B-4229-8CEA-654F546EBA16}" srcOrd="0" destOrd="0" presId="urn:microsoft.com/office/officeart/2008/layout/HorizontalMultiLevelHierarchy"/>
    <dgm:cxn modelId="{DAFDA04F-F855-45D6-A561-8366B39C21E6}" srcId="{0D699952-452A-43DC-8A2A-10789397BA53}" destId="{43FEB39D-726D-4CE3-9FB8-495198D8C367}" srcOrd="0" destOrd="0" parTransId="{03257A50-CA63-4ED1-B383-04E23EE7A061}" sibTransId="{E65C008F-3E90-4441-AD9D-4835FF6DDA12}"/>
    <dgm:cxn modelId="{6A66C219-EF3E-497E-9C09-1A670ECD24A7}" type="presOf" srcId="{408FC791-ACE9-4584-9D58-FFDA4E04529A}" destId="{C75FB6BE-918C-4449-B722-82193576732C}" srcOrd="0" destOrd="0" presId="urn:microsoft.com/office/officeart/2008/layout/HorizontalMultiLevelHierarchy"/>
    <dgm:cxn modelId="{233A5FA0-C4F6-4D5C-A116-06B4D63CD6D6}" type="presOf" srcId="{A3BF068A-8530-46DA-870D-1B2F1930E3A3}" destId="{4A8E4241-C6CF-4259-8CD4-EC3F159A419E}" srcOrd="1" destOrd="0" presId="urn:microsoft.com/office/officeart/2008/layout/HorizontalMultiLevelHierarchy"/>
    <dgm:cxn modelId="{69BBD8B2-2B53-43FC-9CA9-A71DBE9B2A24}" srcId="{DE8579FC-CEE2-4F8F-B8F9-EC89F3F9DC07}" destId="{DC7B4D57-8978-4E50-9A02-98E10A6BA12A}" srcOrd="0" destOrd="0" parTransId="{57A54395-BD07-49EA-A664-D483B657DD97}" sibTransId="{C5D96B1E-78AA-4B0D-9797-95C6725ADFD1}"/>
    <dgm:cxn modelId="{EB29C085-732D-4C29-A545-DB437D29FE92}" type="presOf" srcId="{1D7A899A-1AD4-4B3D-8EF3-671D0C46549E}" destId="{891000AE-E413-4758-BDE2-424EB5C8CC66}" srcOrd="0" destOrd="0" presId="urn:microsoft.com/office/officeart/2008/layout/HorizontalMultiLevelHierarchy"/>
    <dgm:cxn modelId="{CE7A4DDA-B14F-41FD-9990-ACE1C15B7182}" type="presOf" srcId="{E7B2154B-9139-4EB1-80EF-AFBF11EB0003}" destId="{14F13E58-9C3F-4472-9AFD-C5242D34693D}" srcOrd="0" destOrd="0" presId="urn:microsoft.com/office/officeart/2008/layout/HorizontalMultiLevelHierarchy"/>
    <dgm:cxn modelId="{CF54780D-E881-4F9F-9E47-A2452DA8564C}" type="presOf" srcId="{EF6C6888-7EBB-4995-9506-3BB643EF5F0B}" destId="{C04CF883-4837-4A25-99AA-D2AA68C9A5C0}" srcOrd="1" destOrd="0" presId="urn:microsoft.com/office/officeart/2008/layout/HorizontalMultiLevelHierarchy"/>
    <dgm:cxn modelId="{EFEDC251-BED0-42C3-BF97-933478E01D93}" type="presOf" srcId="{22F9F1DD-27E0-4C01-8FEB-1892D672C292}" destId="{65FF99E1-6F89-4544-A7BC-F2E98DB4248A}" srcOrd="1" destOrd="0" presId="urn:microsoft.com/office/officeart/2008/layout/HorizontalMultiLevelHierarchy"/>
    <dgm:cxn modelId="{DE525CBC-8C61-4B79-A624-9292A19CCF01}" type="presOf" srcId="{9FC8F638-6CF3-4E9C-93D9-73FC3F4B755D}" destId="{9455C8F2-F22C-4500-BF7B-99D088CF0C03}" srcOrd="0" destOrd="0" presId="urn:microsoft.com/office/officeart/2008/layout/HorizontalMultiLevelHierarchy"/>
    <dgm:cxn modelId="{507BA925-63A3-464C-88AD-98D5BB3C2558}" srcId="{FF8BFFC2-8932-4DAD-A2F4-166D324F4030}" destId="{0D699952-452A-43DC-8A2A-10789397BA53}" srcOrd="0" destOrd="0" parTransId="{1D7A899A-1AD4-4B3D-8EF3-671D0C46549E}" sibTransId="{E9C40B43-97B6-40AB-99DE-1C1623A840A7}"/>
    <dgm:cxn modelId="{B042CA56-3D22-442A-8C1D-3DBF5BDCF49B}" type="presOf" srcId="{E4A4F3A3-A3FA-41D0-9C79-AD43B2374A19}" destId="{03C174CB-0D81-48B0-8B36-9B605FA21759}" srcOrd="0" destOrd="0" presId="urn:microsoft.com/office/officeart/2008/layout/HorizontalMultiLevelHierarchy"/>
    <dgm:cxn modelId="{D53DAB12-F027-4AD2-B1F4-1FBE6801C584}" type="presOf" srcId="{52BFC127-4197-4DFC-B1F6-A5FF2A1BE7EE}" destId="{9C5908F0-DA4D-47E0-AE01-1B274869A559}" srcOrd="1" destOrd="0" presId="urn:microsoft.com/office/officeart/2008/layout/HorizontalMultiLevelHierarchy"/>
    <dgm:cxn modelId="{A7173169-F121-48A6-8CE7-17E86629B9E2}" type="presOf" srcId="{478DB0CC-C4D6-4154-976F-4E6232191E6B}" destId="{4533385C-1A61-43A5-8864-3E89D90E6208}" srcOrd="0" destOrd="0" presId="urn:microsoft.com/office/officeart/2008/layout/HorizontalMultiLevelHierarchy"/>
    <dgm:cxn modelId="{C953FE92-3AB1-4EBC-8649-605C764A0BD4}" srcId="{FB25B6DF-70F4-4B1F-B6DD-28A8A54B6C0D}" destId="{514658EC-4B3A-4750-862A-45084E380607}" srcOrd="0" destOrd="0" parTransId="{C3B545B2-B8E6-4643-9F27-2A0D17F76102}" sibTransId="{989CA1C4-7F8B-448F-A389-2BD634D802AE}"/>
    <dgm:cxn modelId="{FF6CBBD0-E9B9-4EA8-9877-6988646C0558}" srcId="{6A92BAD2-26DB-4DC3-8231-94A720AD8575}" destId="{FF8BFFC2-8932-4DAD-A2F4-166D324F4030}" srcOrd="0" destOrd="0" parTransId="{DD26E6F7-3D94-4354-B723-A5007A8731F0}" sibTransId="{97651922-0919-4627-ABF5-79FCFFD0FDA2}"/>
    <dgm:cxn modelId="{810DECC9-9365-4EF8-9CF3-711EB14F1B8C}" type="presOf" srcId="{1F40161E-6A13-485A-96F7-BB215BF51CCB}" destId="{75D99C70-C8ED-4C62-A117-65C3AA56DA81}" srcOrd="0" destOrd="0" presId="urn:microsoft.com/office/officeart/2008/layout/HorizontalMultiLevelHierarchy"/>
    <dgm:cxn modelId="{06F2C6FA-F454-44AC-B9A2-E3234418D8EB}" type="presOf" srcId="{5A656120-56FA-4102-8F13-945AA35E2791}" destId="{B10000DC-6505-454C-A326-6DCD9E81335B}" srcOrd="0" destOrd="0" presId="urn:microsoft.com/office/officeart/2008/layout/HorizontalMultiLevelHierarchy"/>
    <dgm:cxn modelId="{CAC8520F-01D6-442D-83BD-809915A218C1}" type="presOf" srcId="{07F248AC-644B-43ED-B6E8-CEA3877F3FA8}" destId="{9C9ABE0D-EFCF-45B0-B976-4C8BF2331F1C}" srcOrd="0" destOrd="0" presId="urn:microsoft.com/office/officeart/2008/layout/HorizontalMultiLevelHierarchy"/>
    <dgm:cxn modelId="{88973106-2C7C-4B05-9360-C275673E405C}" srcId="{FF8BFFC2-8932-4DAD-A2F4-166D324F4030}" destId="{FE864D7C-D88F-47CF-AB2D-1BB782F0F8C5}" srcOrd="1" destOrd="0" parTransId="{52BFC127-4197-4DFC-B1F6-A5FF2A1BE7EE}" sibTransId="{C9B28B92-EBB9-451A-8A0A-4517CF0863DF}"/>
    <dgm:cxn modelId="{AE91DA10-263D-471D-B3C2-562FDE8E39D6}" type="presOf" srcId="{57A54395-BD07-49EA-A664-D483B657DD97}" destId="{11F61879-D1C6-4CE6-A017-C473E96469E5}" srcOrd="1" destOrd="0" presId="urn:microsoft.com/office/officeart/2008/layout/HorizontalMultiLevelHierarchy"/>
    <dgm:cxn modelId="{8BFFE146-6B67-4F2E-9530-CB6FFFD1CD25}" srcId="{FE864D7C-D88F-47CF-AB2D-1BB782F0F8C5}" destId="{8E729F98-CE4F-4F95-B2AE-68FDF89FCFDB}" srcOrd="1" destOrd="0" parTransId="{A7A475C8-4405-43D8-8AEE-530FE30F0E11}" sibTransId="{A00779BF-4627-4014-9B02-1D4BEF422C96}"/>
    <dgm:cxn modelId="{497424BE-1FC2-4B08-AFEB-AC9ADB019352}" type="presOf" srcId="{B33726CC-9AFD-4214-AD7D-ECAF1BC9D27E}" destId="{A06CC969-3612-4D5A-806B-F9D6DC13380C}" srcOrd="0" destOrd="0" presId="urn:microsoft.com/office/officeart/2008/layout/HorizontalMultiLevelHierarchy"/>
    <dgm:cxn modelId="{6160E3FE-4D1D-4366-9E9A-98CE5C43BD19}" type="presOf" srcId="{CFAF5E4B-E910-4CAA-B966-FD4EBEACA99A}" destId="{A8DA3406-B764-4839-BEF2-0F7C93E038FC}" srcOrd="1" destOrd="0" presId="urn:microsoft.com/office/officeart/2008/layout/HorizontalMultiLevelHierarchy"/>
    <dgm:cxn modelId="{F5C4A05F-1EC4-4ABD-840A-37302289C3A1}" srcId="{EA23B32D-0740-47A5-88F1-BB0A47C3CD29}" destId="{46488CC1-FE34-4575-AFA2-A31FE44C18AF}" srcOrd="0" destOrd="0" parTransId="{2C1188E8-7512-4A69-AA12-724894289E7F}" sibTransId="{5C1E4896-D25B-4BEA-8894-6A0910D6F796}"/>
    <dgm:cxn modelId="{9054C549-3A4B-4D0D-8A37-713D447A8997}" type="presOf" srcId="{923F0803-3A4A-45C2-8078-9FDD914D9C7B}" destId="{52415479-0767-4732-858F-E5D934E3EE33}" srcOrd="1" destOrd="0" presId="urn:microsoft.com/office/officeart/2008/layout/HorizontalMultiLevelHierarchy"/>
    <dgm:cxn modelId="{209CD9EE-FD32-4AC4-95E5-FDCA82775B0B}" srcId="{43FEB39D-726D-4CE3-9FB8-495198D8C367}" destId="{0705983A-3C0A-48A3-ABE2-E2F222AC1074}" srcOrd="0" destOrd="0" parTransId="{DF5B0C8D-6E58-4371-9F97-99681CDC8B13}" sibTransId="{B7C083CD-84BB-44D4-9359-ADD1F1BC57BB}"/>
    <dgm:cxn modelId="{1D2CCF84-1BFC-442F-87A8-782634E47706}" srcId="{0D699952-452A-43DC-8A2A-10789397BA53}" destId="{A05B6698-8B18-4D27-9654-5D161DC421E4}" srcOrd="1" destOrd="0" parTransId="{42C7ADF8-B4E8-4309-9829-595A4DB0BBC1}" sibTransId="{64485454-0F12-46AA-9134-96699720A66B}"/>
    <dgm:cxn modelId="{763DB57D-A034-4999-9D2A-555E9EDC0B97}" type="presOf" srcId="{1D7A899A-1AD4-4B3D-8EF3-671D0C46549E}" destId="{BA5A1692-9B8A-4FF7-85C3-1998DCC6310D}" srcOrd="1" destOrd="0" presId="urn:microsoft.com/office/officeart/2008/layout/HorizontalMultiLevelHierarchy"/>
    <dgm:cxn modelId="{C2DA1B0C-3CCC-4CB1-A897-C0CE1C02635A}" srcId="{FF8BFFC2-8932-4DAD-A2F4-166D324F4030}" destId="{DE8579FC-CEE2-4F8F-B8F9-EC89F3F9DC07}" srcOrd="4" destOrd="0" parTransId="{A789A981-B869-4131-B2B0-3B12484695F8}" sibTransId="{F3EC5F3C-5BE2-4169-81B4-D7CBC575D719}"/>
    <dgm:cxn modelId="{788431D4-9656-4AA1-88CE-50704A0B985A}" type="presOf" srcId="{DE8579FC-CEE2-4F8F-B8F9-EC89F3F9DC07}" destId="{85757240-03CA-4F1E-8744-333CE197DCA8}" srcOrd="0" destOrd="0" presId="urn:microsoft.com/office/officeart/2008/layout/HorizontalMultiLevelHierarchy"/>
    <dgm:cxn modelId="{CE555C19-1711-4981-8B02-F5D89665FF29}" type="presOf" srcId="{B2623657-F3FF-4A16-8A2C-C21B0A14C221}" destId="{69C77B1D-4C06-49BA-B1C8-0C39C786FFF6}" srcOrd="0" destOrd="0" presId="urn:microsoft.com/office/officeart/2008/layout/HorizontalMultiLevelHierarchy"/>
    <dgm:cxn modelId="{41721B33-A773-4D74-93C4-1F6F4383CF72}" srcId="{40B1CD4F-15C8-4160-8BA8-35C0EFAACDB3}" destId="{B33726CC-9AFD-4214-AD7D-ECAF1BC9D27E}" srcOrd="0" destOrd="0" parTransId="{D2A07A60-319C-46EA-8993-778539FE4373}" sibTransId="{7264B2FC-3AD2-4E50-8091-0CC64AE4FFAE}"/>
    <dgm:cxn modelId="{23FE81BE-18BB-4E10-A29E-E760DA66623B}" type="presOf" srcId="{A789A981-B869-4131-B2B0-3B12484695F8}" destId="{3D448B8F-6657-4857-BEE7-8D1723BF6DE2}" srcOrd="1" destOrd="0" presId="urn:microsoft.com/office/officeart/2008/layout/HorizontalMultiLevelHierarchy"/>
    <dgm:cxn modelId="{4F591C46-8056-4A14-BA0A-F88395A1BFBB}" type="presOf" srcId="{2C1188E8-7512-4A69-AA12-724894289E7F}" destId="{B47B1EE5-1FCD-4400-8367-4D8676891FB9}" srcOrd="0" destOrd="0" presId="urn:microsoft.com/office/officeart/2008/layout/HorizontalMultiLevelHierarchy"/>
    <dgm:cxn modelId="{07802178-829A-4668-8A5C-26B23790AC8F}" type="presOf" srcId="{6A92BAD2-26DB-4DC3-8231-94A720AD8575}" destId="{3C179B9E-E01E-40A6-8DD5-51B657BD15EB}" srcOrd="0" destOrd="0" presId="urn:microsoft.com/office/officeart/2008/layout/HorizontalMultiLevelHierarchy"/>
    <dgm:cxn modelId="{18F5DC9A-C5DF-41E7-B6A3-102765179832}" type="presOf" srcId="{8D640311-0352-4B61-8CDC-6D5638593B06}" destId="{9FA61F90-7677-4D6E-8F41-6919FD19BCDC}" srcOrd="1" destOrd="0" presId="urn:microsoft.com/office/officeart/2008/layout/HorizontalMultiLevelHierarchy"/>
    <dgm:cxn modelId="{7AAFFC25-3927-421A-BF8B-6917330C94B7}" type="presOf" srcId="{8EDE9927-9441-4D7B-B33F-3A06432054B9}" destId="{C8C62441-FC64-4F00-B340-BEFFCDD8DDBA}" srcOrd="1" destOrd="0" presId="urn:microsoft.com/office/officeart/2008/layout/HorizontalMultiLevelHierarchy"/>
    <dgm:cxn modelId="{9CFC8430-521B-42FC-A312-E1F062B3D8B5}" type="presOf" srcId="{A20580E5-F740-443E-9147-85E623CAEBF3}" destId="{D63E0CB8-2757-4526-A7CB-540150645A9F}" srcOrd="0" destOrd="0" presId="urn:microsoft.com/office/officeart/2008/layout/HorizontalMultiLevelHierarchy"/>
    <dgm:cxn modelId="{0C90B7BE-E8DE-493F-8995-E76B1C3ECAFE}" type="presOf" srcId="{3F04625A-638B-49DB-A49B-888BBD564084}" destId="{11E38B37-816D-4742-88D4-570909B57085}" srcOrd="0" destOrd="0" presId="urn:microsoft.com/office/officeart/2008/layout/HorizontalMultiLevelHierarchy"/>
    <dgm:cxn modelId="{44D56BC9-0BF8-48C7-98F5-6711DBBBBD0C}" type="presOf" srcId="{8EDE9927-9441-4D7B-B33F-3A06432054B9}" destId="{6EB51B8C-2C0F-42EF-BA83-23780C46EBB5}" srcOrd="0" destOrd="0" presId="urn:microsoft.com/office/officeart/2008/layout/HorizontalMultiLevelHierarchy"/>
    <dgm:cxn modelId="{C7CAC382-47B6-418E-9717-EFC54E4685DE}" type="presOf" srcId="{EA23B32D-0740-47A5-88F1-BB0A47C3CD29}" destId="{B7DF67D2-BE40-4FCA-90A5-AC5C17737B78}" srcOrd="0" destOrd="0" presId="urn:microsoft.com/office/officeart/2008/layout/HorizontalMultiLevelHierarchy"/>
    <dgm:cxn modelId="{03ED16E5-12F9-48B6-9502-DF2C83C9D35C}" type="presOf" srcId="{38CEEF69-799E-4CBC-B1C6-1327658BBAA4}" destId="{5D5FF251-4F3E-4C3A-82CD-CEDDAC51DAC5}" srcOrd="0" destOrd="0" presId="urn:microsoft.com/office/officeart/2008/layout/HorizontalMultiLevelHierarchy"/>
    <dgm:cxn modelId="{8F04F20E-A703-44BB-87F3-443BDCD68E05}" type="presOf" srcId="{B2623657-F3FF-4A16-8A2C-C21B0A14C221}" destId="{DC30E96A-935E-4710-AA33-1FB12DA1067D}" srcOrd="1" destOrd="0" presId="urn:microsoft.com/office/officeart/2008/layout/HorizontalMultiLevelHierarchy"/>
    <dgm:cxn modelId="{C65485B9-4377-4F4C-983B-B7F71C677B14}" srcId="{408FC791-ACE9-4584-9D58-FFDA4E04529A}" destId="{5A656120-56FA-4102-8F13-945AA35E2791}" srcOrd="0" destOrd="0" parTransId="{38CEEF69-799E-4CBC-B1C6-1327658BBAA4}" sibTransId="{8AD183E0-913A-4377-AA69-EE9FCF008A03}"/>
    <dgm:cxn modelId="{FFBDF414-E036-48E8-A6CE-13B96E3649A8}" type="presOf" srcId="{03257A50-CA63-4ED1-B383-04E23EE7A061}" destId="{190D25F0-DC1A-460E-BDD1-3F05521A303F}" srcOrd="1" destOrd="0" presId="urn:microsoft.com/office/officeart/2008/layout/HorizontalMultiLevelHierarchy"/>
    <dgm:cxn modelId="{9338621C-DF97-48DB-A35A-52BD26FB6A4C}" type="presOf" srcId="{57A54395-BD07-49EA-A664-D483B657DD97}" destId="{DCE12CC6-C273-448F-A8A0-57DE834E059F}" srcOrd="0" destOrd="0" presId="urn:microsoft.com/office/officeart/2008/layout/HorizontalMultiLevelHierarchy"/>
    <dgm:cxn modelId="{8DCFAF58-6AD5-4ECA-82A2-A76EA5B713F1}" type="presOf" srcId="{5025B4EA-48B5-43DE-9FB5-A1CB0FA70A13}" destId="{B809E223-2A59-4B2A-AEDB-EC141E5FD645}" srcOrd="1" destOrd="0" presId="urn:microsoft.com/office/officeart/2008/layout/HorizontalMultiLevelHierarchy"/>
    <dgm:cxn modelId="{E9DC53BD-6DB2-4237-9DC0-A320407FD258}" type="presOf" srcId="{03257A50-CA63-4ED1-B383-04E23EE7A061}" destId="{A782C83A-67FE-4C40-AFF3-C9300C2CCCEF}" srcOrd="0" destOrd="0" presId="urn:microsoft.com/office/officeart/2008/layout/HorizontalMultiLevelHierarchy"/>
    <dgm:cxn modelId="{71676644-7AE5-41E2-8F26-F82FD3B20707}" type="presOf" srcId="{574879CF-29F8-4D1F-B6C7-C5DF86640D70}" destId="{1608FA00-A918-403E-97E9-054F7A979823}" srcOrd="1" destOrd="0" presId="urn:microsoft.com/office/officeart/2008/layout/HorizontalMultiLevelHierarchy"/>
    <dgm:cxn modelId="{680088AB-BB09-4F00-8A63-CAB11CED27CF}" type="presOf" srcId="{D2A07A60-319C-46EA-8993-778539FE4373}" destId="{86C01574-BC6E-4FA2-81A6-5D4D88A7EFA3}" srcOrd="1" destOrd="0" presId="urn:microsoft.com/office/officeart/2008/layout/HorizontalMultiLevelHierarchy"/>
    <dgm:cxn modelId="{3B6978D9-31B0-4E33-9872-E8C5D186D13C}" type="presOf" srcId="{52BFC127-4197-4DFC-B1F6-A5FF2A1BE7EE}" destId="{75AA4841-E212-45A6-8CB8-980E7A9C01B7}" srcOrd="0" destOrd="0" presId="urn:microsoft.com/office/officeart/2008/layout/HorizontalMultiLevelHierarchy"/>
    <dgm:cxn modelId="{94B8B218-43C6-4B04-A321-559C765F330C}" type="presOf" srcId="{DF5B0C8D-6E58-4371-9F97-99681CDC8B13}" destId="{FF12CFCD-0E3C-4D75-B097-530AC5B926B8}" srcOrd="0" destOrd="0" presId="urn:microsoft.com/office/officeart/2008/layout/HorizontalMultiLevelHierarchy"/>
    <dgm:cxn modelId="{6118FE78-F68F-43BA-9229-259251E9F35F}" type="presOf" srcId="{A7A475C8-4405-43D8-8AEE-530FE30F0E11}" destId="{65F484B4-F682-4175-90B7-E02E8B4CBAA9}" srcOrd="1" destOrd="0" presId="urn:microsoft.com/office/officeart/2008/layout/HorizontalMultiLevelHierarchy"/>
    <dgm:cxn modelId="{DF317CA0-2924-4139-894B-6FE533EB7D6A}" type="presOf" srcId="{FE864D7C-D88F-47CF-AB2D-1BB782F0F8C5}" destId="{9B279246-7754-46C5-A14E-996138D2A9C8}" srcOrd="0" destOrd="0" presId="urn:microsoft.com/office/officeart/2008/layout/HorizontalMultiLevelHierarchy"/>
    <dgm:cxn modelId="{2F1AAF61-BF1A-425B-9BDF-F74548EAB59D}" srcId="{EA23B32D-0740-47A5-88F1-BB0A47C3CD29}" destId="{1D70A45E-E06B-4C27-8E8A-248E81E9A762}" srcOrd="2" destOrd="0" parTransId="{791B2664-4A69-4AF3-9063-F3A3CE135CE4}" sibTransId="{FD954AB7-3A81-47BD-8846-7BC61EB6F1AD}"/>
    <dgm:cxn modelId="{F6EAF61A-4CFC-46A0-853B-25B34BC6774D}" type="presOf" srcId="{26F03236-D87C-4804-B229-229BFA7B4786}" destId="{7CA560A5-96BE-4ED6-95C2-D29888BE7B97}" srcOrd="0" destOrd="0" presId="urn:microsoft.com/office/officeart/2008/layout/HorizontalMultiLevelHierarchy"/>
    <dgm:cxn modelId="{F7266D89-C1A4-4CC6-A879-0525BB56F245}" type="presOf" srcId="{46488CC1-FE34-4575-AFA2-A31FE44C18AF}" destId="{FA08A9BB-ADE7-46F7-8CE5-71275297295B}" srcOrd="0" destOrd="0" presId="urn:microsoft.com/office/officeart/2008/layout/HorizontalMultiLevelHierarchy"/>
    <dgm:cxn modelId="{8EF12E9A-ABFE-4874-AFE2-9E262984592C}" type="presOf" srcId="{DF5B0C8D-6E58-4371-9F97-99681CDC8B13}" destId="{D3025B3C-385C-4EA8-89A4-F7DD0401A04E}" srcOrd="1" destOrd="0" presId="urn:microsoft.com/office/officeart/2008/layout/HorizontalMultiLevelHierarchy"/>
    <dgm:cxn modelId="{F28A0F7E-A287-42D4-BED4-F1DD976F7443}" type="presOf" srcId="{514658EC-4B3A-4750-862A-45084E380607}" destId="{7C20DA3D-4130-444E-A21B-651D8D4F1629}" srcOrd="0" destOrd="0" presId="urn:microsoft.com/office/officeart/2008/layout/HorizontalMultiLevelHierarchy"/>
    <dgm:cxn modelId="{E20E4FFF-BEB7-481C-A73E-2EA3ECCB34AC}" type="presOf" srcId="{390567CA-2D96-4025-8BB0-A27DEC8277F0}" destId="{3894F328-A493-447B-A74E-A3CAD567AC81}" srcOrd="0" destOrd="0" presId="urn:microsoft.com/office/officeart/2008/layout/HorizontalMultiLevelHierarchy"/>
    <dgm:cxn modelId="{B72FBEBA-3D08-4A3C-8102-9F6A31909ECF}" type="presOf" srcId="{4DAC638E-F4C8-40B7-9E9D-C5D007B7EAF3}" destId="{76BFC593-9871-4279-8A5C-42AE1C63D400}" srcOrd="1" destOrd="0" presId="urn:microsoft.com/office/officeart/2008/layout/HorizontalMultiLevelHierarchy"/>
    <dgm:cxn modelId="{0400BE40-CFB3-4766-9369-48FA15A9E309}" type="presOf" srcId="{709E93A7-E2FB-44F5-9720-A4E1146F9131}" destId="{2FE83C35-6E9B-4CA4-8165-3BADCD04B595}" srcOrd="1" destOrd="0" presId="urn:microsoft.com/office/officeart/2008/layout/HorizontalMultiLevelHierarchy"/>
    <dgm:cxn modelId="{4EC95FD4-F1C1-4CE2-89AC-9B39164E4906}" type="presOf" srcId="{A789A981-B869-4131-B2B0-3B12484695F8}" destId="{E80FA5E5-D8CE-4F5B-900D-AAEB5E92B152}" srcOrd="0" destOrd="0" presId="urn:microsoft.com/office/officeart/2008/layout/HorizontalMultiLevelHierarchy"/>
    <dgm:cxn modelId="{C14B5B39-F277-494A-BE9F-A2004F3BF64C}" srcId="{DC7B4D57-8978-4E50-9A02-98E10A6BA12A}" destId="{390567CA-2D96-4025-8BB0-A27DEC8277F0}" srcOrd="0" destOrd="0" parTransId="{5025B4EA-48B5-43DE-9FB5-A1CB0FA70A13}" sibTransId="{21C5A562-28A6-4B56-A156-9F335222E38A}"/>
    <dgm:cxn modelId="{7CD38ECE-9302-48CF-9C75-9DEBFB9F1286}" srcId="{FF8BFFC2-8932-4DAD-A2F4-166D324F4030}" destId="{EA23B32D-0740-47A5-88F1-BB0A47C3CD29}" srcOrd="2" destOrd="0" parTransId="{9FC8F638-6CF3-4E9C-93D9-73FC3F4B755D}" sibTransId="{DCEB4CE2-0F26-4D86-AE31-6FCF00B827E9}"/>
    <dgm:cxn modelId="{03E554F6-5CE1-4D10-9356-140611A4CE69}" type="presOf" srcId="{EC5C7E38-E2B4-4A9E-AA6E-36CEA7D6440C}" destId="{2CDB35F6-B45B-4F85-B9A7-48646D07DD29}" srcOrd="0" destOrd="0" presId="urn:microsoft.com/office/officeart/2008/layout/HorizontalMultiLevelHierarchy"/>
    <dgm:cxn modelId="{DB034EB9-1228-4C0E-9A22-E274C0A3F4A1}" type="presOf" srcId="{1D70A45E-E06B-4C27-8E8A-248E81E9A762}" destId="{C090270F-8E2A-4766-B255-11BBC9816288}" srcOrd="0" destOrd="0" presId="urn:microsoft.com/office/officeart/2008/layout/HorizontalMultiLevelHierarchy"/>
    <dgm:cxn modelId="{B4407EDA-48CA-4943-B84A-F9EE4D11D95D}" srcId="{3F04625A-638B-49DB-A49B-888BBD564084}" destId="{E4A4F3A3-A3FA-41D0-9C79-AD43B2374A19}" srcOrd="0" destOrd="0" parTransId="{3EA0DA7A-7FFB-4D02-9A72-85BCA3799B7A}" sibTransId="{54A9C835-DB88-4AB0-8C0C-6D4F8AEEDACB}"/>
    <dgm:cxn modelId="{4FFC8BAE-6592-466F-A37F-44827E639DC1}" type="presOf" srcId="{455EAA7B-A1A6-465F-AA4F-D1FE74D481CC}" destId="{8B680166-561C-43C2-8A78-49362A1DB696}" srcOrd="0" destOrd="0" presId="urn:microsoft.com/office/officeart/2008/layout/HorizontalMultiLevelHierarchy"/>
    <dgm:cxn modelId="{C9BCC804-6CF3-4321-81CA-0089A30D5615}" type="presOf" srcId="{DC7B4D57-8978-4E50-9A02-98E10A6BA12A}" destId="{A3991D5B-7F8D-4004-A423-4BD965D2D235}" srcOrd="0" destOrd="0" presId="urn:microsoft.com/office/officeart/2008/layout/HorizontalMultiLevelHierarchy"/>
    <dgm:cxn modelId="{364A4C2B-AA97-4460-9ACB-E30E01CD081B}" type="presOf" srcId="{C6FF9136-67E8-4B29-B90D-864D72948DDC}" destId="{0C9A6F18-099D-4CB6-AEC9-8F0AAF53FF8C}" srcOrd="0" destOrd="0" presId="urn:microsoft.com/office/officeart/2008/layout/HorizontalMultiLevelHierarchy"/>
    <dgm:cxn modelId="{B2F4438B-C156-4ED5-ABC3-618A3C6A3213}" srcId="{1D70A45E-E06B-4C27-8E8A-248E81E9A762}" destId="{54516668-DA56-4330-92E1-198B769483A2}" srcOrd="1" destOrd="0" parTransId="{FDF53EDB-8674-49F7-9943-9416A8140BA8}" sibTransId="{89F27C00-DEB7-410F-A156-1F9F66BCF84A}"/>
    <dgm:cxn modelId="{0E5170F3-134A-46D3-B505-CC3DAB280C32}" type="presOf" srcId="{E7B2154B-9139-4EB1-80EF-AFBF11EB0003}" destId="{157DA45A-2B93-40C5-9B28-7A28C632F814}" srcOrd="1" destOrd="0" presId="urn:microsoft.com/office/officeart/2008/layout/HorizontalMultiLevelHierarchy"/>
    <dgm:cxn modelId="{6005CF9A-7005-4401-B47A-F55066F48739}" type="presOf" srcId="{0D699952-452A-43DC-8A2A-10789397BA53}" destId="{818AF95D-8EC8-4CA2-932B-0F643792FAF6}" srcOrd="0" destOrd="0" presId="urn:microsoft.com/office/officeart/2008/layout/HorizontalMultiLevelHierarchy"/>
    <dgm:cxn modelId="{208A6661-44FD-46FB-B429-19EC145310F5}" srcId="{FF8BFFC2-8932-4DAD-A2F4-166D324F4030}" destId="{1F40161E-6A13-485A-96F7-BB215BF51CCB}" srcOrd="3" destOrd="0" parTransId="{EF6C6888-7EBB-4995-9506-3BB643EF5F0B}" sibTransId="{F5E079C8-B21D-4D56-B985-C7F9A4613AB3}"/>
    <dgm:cxn modelId="{0ACA7F4F-ACAC-4ADE-A890-EFF7C38EA23D}" type="presOf" srcId="{3EA0DA7A-7FFB-4D02-9A72-85BCA3799B7A}" destId="{785C421A-BAD1-47F7-8A55-5C0E2C712449}" srcOrd="1" destOrd="0" presId="urn:microsoft.com/office/officeart/2008/layout/HorizontalMultiLevelHierarchy"/>
    <dgm:cxn modelId="{3A12AAE2-5103-48C8-9D7F-71B064812B33}" type="presOf" srcId="{3EA0DA7A-7FFB-4D02-9A72-85BCA3799B7A}" destId="{A1771AD8-E19A-4A6D-B91B-E651DA1212A6}" srcOrd="0" destOrd="0" presId="urn:microsoft.com/office/officeart/2008/layout/HorizontalMultiLevelHierarchy"/>
    <dgm:cxn modelId="{30955F5E-7FF4-496B-A3E2-DAB49D7F0E7B}" type="presOf" srcId="{791B2664-4A69-4AF3-9063-F3A3CE135CE4}" destId="{15BDF5E6-E42B-4855-977F-223FA9796A3C}" srcOrd="0" destOrd="0" presId="urn:microsoft.com/office/officeart/2008/layout/HorizontalMultiLevelHierarchy"/>
    <dgm:cxn modelId="{B52A3DA8-4053-41E4-BD1D-5AA001A5D0E5}" type="presOf" srcId="{C3B545B2-B8E6-4643-9F27-2A0D17F76102}" destId="{3D5E7BFA-B6B2-45BF-9FF7-6629D5C3F93D}" srcOrd="1" destOrd="0" presId="urn:microsoft.com/office/officeart/2008/layout/HorizontalMultiLevelHierarchy"/>
    <dgm:cxn modelId="{94B12B98-FD3B-46E1-B165-FA8D43CFC879}" type="presOf" srcId="{EF6C6888-7EBB-4995-9506-3BB643EF5F0B}" destId="{F6B7158F-7788-438C-9A7E-20807CCDAB02}" srcOrd="0" destOrd="0" presId="urn:microsoft.com/office/officeart/2008/layout/HorizontalMultiLevelHierarchy"/>
    <dgm:cxn modelId="{229EF52D-C078-4141-BA83-4F8F0AB0F437}" type="presOf" srcId="{6424C92E-0E28-4E48-A51C-9CB8EEB5B69E}" destId="{13E11B18-65FA-4052-963E-DBBDED4506CC}" srcOrd="0" destOrd="0" presId="urn:microsoft.com/office/officeart/2008/layout/HorizontalMultiLevelHierarchy"/>
    <dgm:cxn modelId="{45C9E1AE-AAB6-4690-848F-DD788AA64F2B}" type="presOf" srcId="{3BCF3BF8-F186-413D-ACB8-0C58CF2667C5}" destId="{0BB4B318-77A8-43A9-8A81-C17AD373D5EE}" srcOrd="0" destOrd="0" presId="urn:microsoft.com/office/officeart/2008/layout/HorizontalMultiLevelHierarchy"/>
    <dgm:cxn modelId="{808ED325-E090-455B-B37D-F7E7F971C817}" type="presOf" srcId="{923F0803-3A4A-45C2-8078-9FDD914D9C7B}" destId="{B39BCBFA-FC26-4641-80BB-35FD60BF06EE}" srcOrd="0" destOrd="0" presId="urn:microsoft.com/office/officeart/2008/layout/HorizontalMultiLevelHierarchy"/>
    <dgm:cxn modelId="{57162299-901A-40BA-AD4D-072067D8545E}" srcId="{B8ED3751-3F93-4CA5-AC11-2A52179FE4AA}" destId="{26F03236-D87C-4804-B229-229BFA7B4786}" srcOrd="0" destOrd="0" parTransId="{4DAC638E-F4C8-40B7-9E9D-C5D007B7EAF3}" sibTransId="{68CE141B-7280-4E49-A72A-501BBE31B973}"/>
    <dgm:cxn modelId="{482B7D19-C9F2-46CC-9290-D9525BA805BA}" type="presOf" srcId="{42C7ADF8-B4E8-4309-9829-595A4DB0BBC1}" destId="{CB7D7CEC-8545-4056-8ABA-9567892C8285}" srcOrd="0" destOrd="0" presId="urn:microsoft.com/office/officeart/2008/layout/HorizontalMultiLevelHierarchy"/>
    <dgm:cxn modelId="{6E22F75B-4243-4D0D-94DB-149A75685152}" type="presOf" srcId="{07F248AC-644B-43ED-B6E8-CEA3877F3FA8}" destId="{24BEB037-EECC-491A-8E0F-361C8F16B1BF}" srcOrd="1" destOrd="0" presId="urn:microsoft.com/office/officeart/2008/layout/HorizontalMultiLevelHierarchy"/>
    <dgm:cxn modelId="{45A67ACB-B083-435E-B046-F3E8797B775B}" type="presOf" srcId="{C3B545B2-B8E6-4643-9F27-2A0D17F76102}" destId="{86507B1A-246E-4960-B71E-4440D455B118}" srcOrd="0" destOrd="0" presId="urn:microsoft.com/office/officeart/2008/layout/HorizontalMultiLevelHierarchy"/>
    <dgm:cxn modelId="{F4D84BD1-4045-4C5A-A634-235B37F2BB8D}" type="presOf" srcId="{574879CF-29F8-4D1F-B6C7-C5DF86640D70}" destId="{8D090EA9-599D-4E10-94BE-D6F613CC3727}" srcOrd="0" destOrd="0" presId="urn:microsoft.com/office/officeart/2008/layout/HorizontalMultiLevelHierarchy"/>
    <dgm:cxn modelId="{8AEE6585-A90B-45C9-81E8-7BD2ECF647AA}" type="presOf" srcId="{FF8BFFC2-8932-4DAD-A2F4-166D324F4030}" destId="{221C0ABD-F137-4CB8-96DB-77DC9C9D08D5}" srcOrd="0" destOrd="0" presId="urn:microsoft.com/office/officeart/2008/layout/HorizontalMultiLevelHierarchy"/>
    <dgm:cxn modelId="{97EC1C45-4134-4635-AB98-D1EDEE66290A}" type="presOf" srcId="{0705983A-3C0A-48A3-ABE2-E2F222AC1074}" destId="{94D2853E-29EB-40AF-87B4-EFAEB56E7795}" srcOrd="0" destOrd="0" presId="urn:microsoft.com/office/officeart/2008/layout/HorizontalMultiLevelHierarchy"/>
    <dgm:cxn modelId="{1012758A-79B3-42B5-919A-17036B5E0923}" type="presOf" srcId="{FDF53EDB-8674-49F7-9943-9416A8140BA8}" destId="{FA095FFD-FE95-49C9-ABD3-ADFD1F42BD15}" srcOrd="1" destOrd="0" presId="urn:microsoft.com/office/officeart/2008/layout/HorizontalMultiLevelHierarchy"/>
    <dgm:cxn modelId="{55706134-E2CC-419F-B816-33FE3B831D54}" type="presOf" srcId="{B8ED3751-3F93-4CA5-AC11-2A52179FE4AA}" destId="{BD05E54A-A5DA-4350-981F-ABF3C02358C9}" srcOrd="0" destOrd="0" presId="urn:microsoft.com/office/officeart/2008/layout/HorizontalMultiLevelHierarchy"/>
    <dgm:cxn modelId="{24CF81FF-64DE-4D4D-9A5F-746075FD9B69}" type="presOf" srcId="{791B2664-4A69-4AF3-9063-F3A3CE135CE4}" destId="{CF7A05B4-9775-46E1-A05F-8FDF5737D805}" srcOrd="1" destOrd="0" presId="urn:microsoft.com/office/officeart/2008/layout/HorizontalMultiLevelHierarchy"/>
    <dgm:cxn modelId="{E186C2B5-28EF-4F1B-A7B5-946F0969DA87}" srcId="{EA23B32D-0740-47A5-88F1-BB0A47C3CD29}" destId="{40B1CD4F-15C8-4160-8BA8-35C0EFAACDB3}" srcOrd="1" destOrd="0" parTransId="{A3BF068A-8530-46DA-870D-1B2F1930E3A3}" sibTransId="{F3822B95-7FAF-4E03-BD7D-3018294EE97A}"/>
    <dgm:cxn modelId="{C316C635-1838-4A7E-8C9A-2CDB36451F3F}" srcId="{53313C4D-9A2F-4A60-8833-61D6052D4921}" destId="{8E1DC07C-4064-4B26-BBF2-306A21C98145}" srcOrd="0" destOrd="0" parTransId="{574879CF-29F8-4D1F-B6C7-C5DF86640D70}" sibTransId="{714547B8-0B58-455F-9C83-21A713BD5AD1}"/>
    <dgm:cxn modelId="{A688EB64-6690-4297-82CC-5067F5CE3AF3}" type="presOf" srcId="{53313C4D-9A2F-4A60-8833-61D6052D4921}" destId="{E8BA7911-EDDE-465F-BA01-3D75DCBFCEAD}" srcOrd="0" destOrd="0" presId="urn:microsoft.com/office/officeart/2008/layout/HorizontalMultiLevelHierarchy"/>
    <dgm:cxn modelId="{4E14C8E4-48E6-47C0-AB64-8E4A4690032E}" type="presOf" srcId="{A3BF068A-8530-46DA-870D-1B2F1930E3A3}" destId="{0CD6B3CA-8178-4904-B5D7-40E9E66FED05}" srcOrd="0" destOrd="0" presId="urn:microsoft.com/office/officeart/2008/layout/HorizontalMultiLevelHierarchy"/>
    <dgm:cxn modelId="{399A5B51-E272-4D5B-A639-4748F55FB90D}" type="presOf" srcId="{40B1CD4F-15C8-4160-8BA8-35C0EFAACDB3}" destId="{45A12A60-4DB4-4215-9955-3642E4B9F4DC}" srcOrd="0" destOrd="0" presId="urn:microsoft.com/office/officeart/2008/layout/HorizontalMultiLevelHierarchy"/>
    <dgm:cxn modelId="{1492F72D-E23B-4EF8-B8A6-0E8D0C2CB197}" type="presOf" srcId="{2C1188E8-7512-4A69-AA12-724894289E7F}" destId="{A1F62238-81EC-4C6E-BB50-6B6EFEEC68A2}" srcOrd="1" destOrd="0" presId="urn:microsoft.com/office/officeart/2008/layout/HorizontalMultiLevelHierarchy"/>
    <dgm:cxn modelId="{3EDFF2AB-0167-4921-AF7D-5FF03E2F4B3E}" type="presOf" srcId="{A7A475C8-4405-43D8-8AEE-530FE30F0E11}" destId="{8438AB9D-B5BF-4241-AA21-A9E7DEA53153}" srcOrd="0" destOrd="0" presId="urn:microsoft.com/office/officeart/2008/layout/HorizontalMultiLevelHierarchy"/>
    <dgm:cxn modelId="{33F43436-6244-48AD-9438-731E65B65B47}" type="presOf" srcId="{A05B6698-8B18-4D27-9654-5D161DC421E4}" destId="{2390D465-4CD2-449B-9568-2611D1444FBF}" srcOrd="0" destOrd="0" presId="urn:microsoft.com/office/officeart/2008/layout/HorizontalMultiLevelHierarchy"/>
    <dgm:cxn modelId="{02E8D0D1-8952-4A9B-A790-5EE3B83749EE}" type="presOf" srcId="{8E1DC07C-4064-4B26-BBF2-306A21C98145}" destId="{DE7ADCB6-C43E-4A0E-865B-4487EB9D6ABE}" srcOrd="0" destOrd="0" presId="urn:microsoft.com/office/officeart/2008/layout/HorizontalMultiLevelHierarchy"/>
    <dgm:cxn modelId="{D147DCDB-1C86-4DE5-98B7-3B4A983F3914}" type="presOf" srcId="{FB25B6DF-70F4-4B1F-B6DD-28A8A54B6C0D}" destId="{7F9D759E-01C6-42F2-9955-A6F4188FE5AC}" srcOrd="0" destOrd="0" presId="urn:microsoft.com/office/officeart/2008/layout/HorizontalMultiLevelHierarchy"/>
    <dgm:cxn modelId="{FB8F1943-E679-4D4B-AD71-97F0B9B9CB3F}" srcId="{FE864D7C-D88F-47CF-AB2D-1BB782F0F8C5}" destId="{FB25B6DF-70F4-4B1F-B6DD-28A8A54B6C0D}" srcOrd="2" destOrd="0" parTransId="{709E93A7-E2FB-44F5-9720-A4E1146F9131}" sibTransId="{326A1260-4A78-44E8-A1E6-A27BF30836C1}"/>
    <dgm:cxn modelId="{27D67D09-B491-4E78-99F5-FA97F9516C36}" srcId="{1D70A45E-E06B-4C27-8E8A-248E81E9A762}" destId="{EC5C7E38-E2B4-4A9E-AA6E-36CEA7D6440C}" srcOrd="0" destOrd="0" parTransId="{A20580E5-F740-443E-9147-85E623CAEBF3}" sibTransId="{E3311303-3352-4B27-8D77-834AD6935C3C}"/>
    <dgm:cxn modelId="{086AB5CD-B92B-45C0-B312-A9ED629CBC75}" type="presOf" srcId="{22F9F1DD-27E0-4C01-8FEB-1892D672C292}" destId="{E549F07B-EFA3-4749-ADCE-87F403808456}" srcOrd="0" destOrd="0" presId="urn:microsoft.com/office/officeart/2008/layout/HorizontalMultiLevelHierarchy"/>
    <dgm:cxn modelId="{2E1CDD05-8152-43DE-AB11-BDD2FF7ABF03}" type="presOf" srcId="{5025B4EA-48B5-43DE-9FB5-A1CB0FA70A13}" destId="{271F409F-356F-4F86-B895-E628C33C6F95}" srcOrd="0" destOrd="0" presId="urn:microsoft.com/office/officeart/2008/layout/HorizontalMultiLevelHierarchy"/>
    <dgm:cxn modelId="{CFFD76D8-C32E-4367-A026-85BE64F2ACE2}" srcId="{0D699952-452A-43DC-8A2A-10789397BA53}" destId="{3F04625A-638B-49DB-A49B-888BBD564084}" srcOrd="3" destOrd="0" parTransId="{07F248AC-644B-43ED-B6E8-CEA3877F3FA8}" sibTransId="{A7FE1D42-D07F-402E-9CB3-4D9AA763AE53}"/>
    <dgm:cxn modelId="{E14C307A-DED1-4612-9CEE-06A28A2FC75A}" type="presOf" srcId="{43FEB39D-726D-4CE3-9FB8-495198D8C367}" destId="{FBED6358-2AA8-484B-A47C-E746EE3B1090}" srcOrd="0" destOrd="0" presId="urn:microsoft.com/office/officeart/2008/layout/HorizontalMultiLevelHierarchy"/>
    <dgm:cxn modelId="{4D60EDFB-EE1E-4653-88DB-FF5F2E274A28}" type="presOf" srcId="{8E729F98-CE4F-4F95-B2AE-68FDF89FCFDB}" destId="{112EB765-CDB0-4916-9E42-D72BEC2B73C1}" srcOrd="0" destOrd="0" presId="urn:microsoft.com/office/officeart/2008/layout/HorizontalMultiLevelHierarchy"/>
    <dgm:cxn modelId="{1F524821-28E6-4AF5-8D9D-FED7B8C4EA57}" srcId="{A05B6698-8B18-4D27-9654-5D161DC421E4}" destId="{3BCF3BF8-F186-413D-ACB8-0C58CF2667C5}" srcOrd="0" destOrd="0" parTransId="{22F9F1DD-27E0-4C01-8FEB-1892D672C292}" sibTransId="{F8DAAAC7-43B8-4E9B-8CAC-CBC1DD444045}"/>
    <dgm:cxn modelId="{547B3FC4-BF8A-488D-A4D8-F2987CF0B8DF}" type="presOf" srcId="{D2A07A60-319C-46EA-8993-778539FE4373}" destId="{0747899D-A0A4-47A8-B98E-0583690DABE9}" srcOrd="0" destOrd="0" presId="urn:microsoft.com/office/officeart/2008/layout/HorizontalMultiLevelHierarchy"/>
    <dgm:cxn modelId="{35FEF8CD-AE1D-4D6F-8C5D-A44DDFCB4CAB}" srcId="{FE864D7C-D88F-47CF-AB2D-1BB782F0F8C5}" destId="{53313C4D-9A2F-4A60-8833-61D6052D4921}" srcOrd="3" destOrd="0" parTransId="{6424C92E-0E28-4E48-A51C-9CB8EEB5B69E}" sibTransId="{CD171996-F82C-4067-8B0E-AFD9480E69A7}"/>
    <dgm:cxn modelId="{79D24489-3962-4A8E-9260-6E3E11A7BD97}" type="presOf" srcId="{AE53C03C-408F-4FBE-B468-CAAC5B3466A2}" destId="{5AEA799C-22DA-4DF1-B48D-E880B7012380}" srcOrd="0" destOrd="0" presId="urn:microsoft.com/office/officeart/2008/layout/HorizontalMultiLevelHierarchy"/>
    <dgm:cxn modelId="{2C2C9577-7C90-4073-BAEF-FB12190DD990}" type="presOf" srcId="{4DAC638E-F4C8-40B7-9E9D-C5D007B7EAF3}" destId="{BA8229D2-E03A-44AB-B5CD-966D5C450E02}" srcOrd="0" destOrd="0" presId="urn:microsoft.com/office/officeart/2008/layout/HorizontalMultiLevelHierarchy"/>
    <dgm:cxn modelId="{43076A16-703B-407D-9F20-7DA2EC330121}" type="presOf" srcId="{6424C92E-0E28-4E48-A51C-9CB8EEB5B69E}" destId="{CD7B5AB3-2BF0-4203-9964-D1E46EE356B3}" srcOrd="1" destOrd="0" presId="urn:microsoft.com/office/officeart/2008/layout/HorizontalMultiLevelHierarchy"/>
    <dgm:cxn modelId="{D50B8455-520B-4479-B318-34BB4862BFE7}" srcId="{46488CC1-FE34-4575-AFA2-A31FE44C18AF}" destId="{AE53C03C-408F-4FBE-B468-CAAC5B3466A2}" srcOrd="0" destOrd="0" parTransId="{CFAF5E4B-E910-4CAA-B966-FD4EBEACA99A}" sibTransId="{1A77FD97-D5E4-4510-9669-FE169625C516}"/>
    <dgm:cxn modelId="{C5CE1BD5-D0FD-41F1-9FE7-6A74482EFE64}" srcId="{0D699952-452A-43DC-8A2A-10789397BA53}" destId="{B8ED3751-3F93-4CA5-AC11-2A52179FE4AA}" srcOrd="2" destOrd="0" parTransId="{B2623657-F3FF-4A16-8A2C-C21B0A14C221}" sibTransId="{DDDA07E9-E945-4039-8E75-01133166B050}"/>
    <dgm:cxn modelId="{EC16CB96-88BE-40DE-9D93-5987F0C20F1D}" type="presOf" srcId="{38CEEF69-799E-4CBC-B1C6-1327658BBAA4}" destId="{35F72A11-8F91-4B6D-BFFB-DC413B1C0AD6}" srcOrd="1" destOrd="0" presId="urn:microsoft.com/office/officeart/2008/layout/HorizontalMultiLevelHierarchy"/>
    <dgm:cxn modelId="{5DF1361C-CA06-4EFC-A7A1-1233194CFBB9}" srcId="{478DB0CC-C4D6-4154-976F-4E6232191E6B}" destId="{455EAA7B-A1A6-465F-AA4F-D1FE74D481CC}" srcOrd="0" destOrd="0" parTransId="{E7B2154B-9139-4EB1-80EF-AFBF11EB0003}" sibTransId="{5994DDD8-2B86-4B2D-B24C-DF8F056722D1}"/>
    <dgm:cxn modelId="{4F1962C1-9834-48EE-80EA-B55F70C783F8}" type="presOf" srcId="{709E93A7-E2FB-44F5-9720-A4E1146F9131}" destId="{F4656B59-9D11-4955-B1B0-005B75765283}" srcOrd="0" destOrd="0" presId="urn:microsoft.com/office/officeart/2008/layout/HorizontalMultiLevelHierarchy"/>
    <dgm:cxn modelId="{E45B11AA-42A7-4CD1-B84E-35B33C56D9DA}" type="presOf" srcId="{8D640311-0352-4B61-8CDC-6D5638593B06}" destId="{D9C64F90-3A2A-4F74-9758-68B008977C02}" srcOrd="0" destOrd="0" presId="urn:microsoft.com/office/officeart/2008/layout/HorizontalMultiLevelHierarchy"/>
    <dgm:cxn modelId="{D049FDDA-4083-474D-8AF9-BEDA77A2AD0E}" srcId="{FE864D7C-D88F-47CF-AB2D-1BB782F0F8C5}" destId="{408FC791-ACE9-4584-9D58-FFDA4E04529A}" srcOrd="0" destOrd="0" parTransId="{8EDE9927-9441-4D7B-B33F-3A06432054B9}" sibTransId="{8AB73A3A-454A-4DA5-91E6-93CD5EDEEE4C}"/>
    <dgm:cxn modelId="{0AFD54D7-80F6-4923-9042-376C7F8759F5}" srcId="{1F40161E-6A13-485A-96F7-BB215BF51CCB}" destId="{478DB0CC-C4D6-4154-976F-4E6232191E6B}" srcOrd="0" destOrd="0" parTransId="{923F0803-3A4A-45C2-8078-9FDD914D9C7B}" sibTransId="{0EB317C6-6F6D-4974-ACD1-89B5C3C50B42}"/>
    <dgm:cxn modelId="{455D9002-B237-4DE1-83FF-AE32FA4A61C9}" type="presOf" srcId="{42C7ADF8-B4E8-4309-9829-595A4DB0BBC1}" destId="{35FFE7F6-66D6-4BBD-996D-3E2F63F922B9}" srcOrd="1" destOrd="0" presId="urn:microsoft.com/office/officeart/2008/layout/HorizontalMultiLevelHierarchy"/>
    <dgm:cxn modelId="{E94BDCB9-CDA9-468D-B299-0A33EB0F2C79}" type="presOf" srcId="{9FC8F638-6CF3-4E9C-93D9-73FC3F4B755D}" destId="{A0863CEC-2142-43A5-AA35-327A9E9F2AFA}" srcOrd="1" destOrd="0" presId="urn:microsoft.com/office/officeart/2008/layout/HorizontalMultiLevelHierarchy"/>
    <dgm:cxn modelId="{57E8CB4D-482C-4EF7-9F38-38712624BEDB}" type="presParOf" srcId="{3C179B9E-E01E-40A6-8DD5-51B657BD15EB}" destId="{B65251F6-ACA3-4397-8BC5-2F50F5782763}" srcOrd="0" destOrd="0" presId="urn:microsoft.com/office/officeart/2008/layout/HorizontalMultiLevelHierarchy"/>
    <dgm:cxn modelId="{7A59FD97-BFEF-4256-930A-939038E7412A}" type="presParOf" srcId="{B65251F6-ACA3-4397-8BC5-2F50F5782763}" destId="{221C0ABD-F137-4CB8-96DB-77DC9C9D08D5}" srcOrd="0" destOrd="0" presId="urn:microsoft.com/office/officeart/2008/layout/HorizontalMultiLevelHierarchy"/>
    <dgm:cxn modelId="{6BFDA72E-1B22-4F71-8000-C1D736F0CA9F}" type="presParOf" srcId="{B65251F6-ACA3-4397-8BC5-2F50F5782763}" destId="{5DDCD98F-57F6-409A-8E8C-058C527DACAF}" srcOrd="1" destOrd="0" presId="urn:microsoft.com/office/officeart/2008/layout/HorizontalMultiLevelHierarchy"/>
    <dgm:cxn modelId="{79806A62-9519-4455-AA8B-FF7A90B3B10A}" type="presParOf" srcId="{5DDCD98F-57F6-409A-8E8C-058C527DACAF}" destId="{891000AE-E413-4758-BDE2-424EB5C8CC66}" srcOrd="0" destOrd="0" presId="urn:microsoft.com/office/officeart/2008/layout/HorizontalMultiLevelHierarchy"/>
    <dgm:cxn modelId="{B9A86D09-C982-424F-AB1E-233177B9AA04}" type="presParOf" srcId="{891000AE-E413-4758-BDE2-424EB5C8CC66}" destId="{BA5A1692-9B8A-4FF7-85C3-1998DCC6310D}" srcOrd="0" destOrd="0" presId="urn:microsoft.com/office/officeart/2008/layout/HorizontalMultiLevelHierarchy"/>
    <dgm:cxn modelId="{90033F9D-BA01-488D-BA50-DB33036DAC18}" type="presParOf" srcId="{5DDCD98F-57F6-409A-8E8C-058C527DACAF}" destId="{C4356F43-279E-4C82-BB4A-18997D0DDD7F}" srcOrd="1" destOrd="0" presId="urn:microsoft.com/office/officeart/2008/layout/HorizontalMultiLevelHierarchy"/>
    <dgm:cxn modelId="{0A05D02E-1BD7-44B7-A25F-DC9A856F2F40}" type="presParOf" srcId="{C4356F43-279E-4C82-BB4A-18997D0DDD7F}" destId="{818AF95D-8EC8-4CA2-932B-0F643792FAF6}" srcOrd="0" destOrd="0" presId="urn:microsoft.com/office/officeart/2008/layout/HorizontalMultiLevelHierarchy"/>
    <dgm:cxn modelId="{77E450E6-D678-4A44-9F03-5F20FB120FBD}" type="presParOf" srcId="{C4356F43-279E-4C82-BB4A-18997D0DDD7F}" destId="{513884D2-23BD-4BD4-8ACF-4A7F90BA7C36}" srcOrd="1" destOrd="0" presId="urn:microsoft.com/office/officeart/2008/layout/HorizontalMultiLevelHierarchy"/>
    <dgm:cxn modelId="{07CBD05F-8633-4D13-9182-AA91021637A3}" type="presParOf" srcId="{513884D2-23BD-4BD4-8ACF-4A7F90BA7C36}" destId="{A782C83A-67FE-4C40-AFF3-C9300C2CCCEF}" srcOrd="0" destOrd="0" presId="urn:microsoft.com/office/officeart/2008/layout/HorizontalMultiLevelHierarchy"/>
    <dgm:cxn modelId="{24F105FE-CE7E-4787-A70A-66C587793FDA}" type="presParOf" srcId="{A782C83A-67FE-4C40-AFF3-C9300C2CCCEF}" destId="{190D25F0-DC1A-460E-BDD1-3F05521A303F}" srcOrd="0" destOrd="0" presId="urn:microsoft.com/office/officeart/2008/layout/HorizontalMultiLevelHierarchy"/>
    <dgm:cxn modelId="{AFA54C26-61BD-42E5-BABB-165FEB00C53A}" type="presParOf" srcId="{513884D2-23BD-4BD4-8ACF-4A7F90BA7C36}" destId="{7DE29F3C-C0DD-4CA3-955C-F0624AF940C3}" srcOrd="1" destOrd="0" presId="urn:microsoft.com/office/officeart/2008/layout/HorizontalMultiLevelHierarchy"/>
    <dgm:cxn modelId="{0DF4983A-B114-489A-BB87-3EA267DEA0CC}" type="presParOf" srcId="{7DE29F3C-C0DD-4CA3-955C-F0624AF940C3}" destId="{FBED6358-2AA8-484B-A47C-E746EE3B1090}" srcOrd="0" destOrd="0" presId="urn:microsoft.com/office/officeart/2008/layout/HorizontalMultiLevelHierarchy"/>
    <dgm:cxn modelId="{A0C6FFEA-5CD4-45AB-A5A4-50F4B1086393}" type="presParOf" srcId="{7DE29F3C-C0DD-4CA3-955C-F0624AF940C3}" destId="{5B2E3DB0-D9FC-44C0-9F20-4D00B6C222F7}" srcOrd="1" destOrd="0" presId="urn:microsoft.com/office/officeart/2008/layout/HorizontalMultiLevelHierarchy"/>
    <dgm:cxn modelId="{246962E5-18C2-4A35-AE6E-1B3B164F6922}" type="presParOf" srcId="{5B2E3DB0-D9FC-44C0-9F20-4D00B6C222F7}" destId="{FF12CFCD-0E3C-4D75-B097-530AC5B926B8}" srcOrd="0" destOrd="0" presId="urn:microsoft.com/office/officeart/2008/layout/HorizontalMultiLevelHierarchy"/>
    <dgm:cxn modelId="{7EFB7257-2591-44F5-AC91-479226074C88}" type="presParOf" srcId="{FF12CFCD-0E3C-4D75-B097-530AC5B926B8}" destId="{D3025B3C-385C-4EA8-89A4-F7DD0401A04E}" srcOrd="0" destOrd="0" presId="urn:microsoft.com/office/officeart/2008/layout/HorizontalMultiLevelHierarchy"/>
    <dgm:cxn modelId="{10FB687A-100E-4027-B288-5FA6233C90DE}" type="presParOf" srcId="{5B2E3DB0-D9FC-44C0-9F20-4D00B6C222F7}" destId="{9415AFB5-3B58-4F02-B57D-C966B5F79FD5}" srcOrd="1" destOrd="0" presId="urn:microsoft.com/office/officeart/2008/layout/HorizontalMultiLevelHierarchy"/>
    <dgm:cxn modelId="{BE9A2BD6-0933-4CF1-9022-2C66BE45E290}" type="presParOf" srcId="{9415AFB5-3B58-4F02-B57D-C966B5F79FD5}" destId="{94D2853E-29EB-40AF-87B4-EFAEB56E7795}" srcOrd="0" destOrd="0" presId="urn:microsoft.com/office/officeart/2008/layout/HorizontalMultiLevelHierarchy"/>
    <dgm:cxn modelId="{D7E25DC2-2DE2-4C29-8E4D-7BE3C9757311}" type="presParOf" srcId="{9415AFB5-3B58-4F02-B57D-C966B5F79FD5}" destId="{639C2F4D-9CCE-4C00-B361-1AAA830592C1}" srcOrd="1" destOrd="0" presId="urn:microsoft.com/office/officeart/2008/layout/HorizontalMultiLevelHierarchy"/>
    <dgm:cxn modelId="{8728C7BD-60FC-47E7-B203-8DCA02078D48}" type="presParOf" srcId="{513884D2-23BD-4BD4-8ACF-4A7F90BA7C36}" destId="{CB7D7CEC-8545-4056-8ABA-9567892C8285}" srcOrd="2" destOrd="0" presId="urn:microsoft.com/office/officeart/2008/layout/HorizontalMultiLevelHierarchy"/>
    <dgm:cxn modelId="{2C175D47-3A5B-4E61-BD5F-8408098984BA}" type="presParOf" srcId="{CB7D7CEC-8545-4056-8ABA-9567892C8285}" destId="{35FFE7F6-66D6-4BBD-996D-3E2F63F922B9}" srcOrd="0" destOrd="0" presId="urn:microsoft.com/office/officeart/2008/layout/HorizontalMultiLevelHierarchy"/>
    <dgm:cxn modelId="{93F669A0-413E-4A91-9DA8-DAB615021B55}" type="presParOf" srcId="{513884D2-23BD-4BD4-8ACF-4A7F90BA7C36}" destId="{C46BEB3D-8AC2-4255-BA19-F0DF4A7AC7CE}" srcOrd="3" destOrd="0" presId="urn:microsoft.com/office/officeart/2008/layout/HorizontalMultiLevelHierarchy"/>
    <dgm:cxn modelId="{B2715515-6DD4-498B-B4C6-7FFEEF88F66C}" type="presParOf" srcId="{C46BEB3D-8AC2-4255-BA19-F0DF4A7AC7CE}" destId="{2390D465-4CD2-449B-9568-2611D1444FBF}" srcOrd="0" destOrd="0" presId="urn:microsoft.com/office/officeart/2008/layout/HorizontalMultiLevelHierarchy"/>
    <dgm:cxn modelId="{AB047497-213F-4288-9A4C-A73223B6338E}" type="presParOf" srcId="{C46BEB3D-8AC2-4255-BA19-F0DF4A7AC7CE}" destId="{117B5339-BC4F-4CD9-8FE6-3317F28BEF13}" srcOrd="1" destOrd="0" presId="urn:microsoft.com/office/officeart/2008/layout/HorizontalMultiLevelHierarchy"/>
    <dgm:cxn modelId="{C7D4AB88-DEA6-466B-A5B3-36CF58EDB9B0}" type="presParOf" srcId="{117B5339-BC4F-4CD9-8FE6-3317F28BEF13}" destId="{E549F07B-EFA3-4749-ADCE-87F403808456}" srcOrd="0" destOrd="0" presId="urn:microsoft.com/office/officeart/2008/layout/HorizontalMultiLevelHierarchy"/>
    <dgm:cxn modelId="{81BB790C-28E1-436F-823C-59C2A688B385}" type="presParOf" srcId="{E549F07B-EFA3-4749-ADCE-87F403808456}" destId="{65FF99E1-6F89-4544-A7BC-F2E98DB4248A}" srcOrd="0" destOrd="0" presId="urn:microsoft.com/office/officeart/2008/layout/HorizontalMultiLevelHierarchy"/>
    <dgm:cxn modelId="{2929B3CD-6FBB-4C7E-94FC-05F7CE993EFB}" type="presParOf" srcId="{117B5339-BC4F-4CD9-8FE6-3317F28BEF13}" destId="{156AA842-507A-4435-A4F4-37E32085EC08}" srcOrd="1" destOrd="0" presId="urn:microsoft.com/office/officeart/2008/layout/HorizontalMultiLevelHierarchy"/>
    <dgm:cxn modelId="{64F3C8A2-6D13-43B2-90E2-B12130F89F4E}" type="presParOf" srcId="{156AA842-507A-4435-A4F4-37E32085EC08}" destId="{0BB4B318-77A8-43A9-8A81-C17AD373D5EE}" srcOrd="0" destOrd="0" presId="urn:microsoft.com/office/officeart/2008/layout/HorizontalMultiLevelHierarchy"/>
    <dgm:cxn modelId="{D1CC00B9-DD15-44DC-AE60-08F42D7FD459}" type="presParOf" srcId="{156AA842-507A-4435-A4F4-37E32085EC08}" destId="{E0C7FD22-48D8-41CD-8008-4F51D24E7165}" srcOrd="1" destOrd="0" presId="urn:microsoft.com/office/officeart/2008/layout/HorizontalMultiLevelHierarchy"/>
    <dgm:cxn modelId="{56F12A82-73E3-4B08-8B5A-39949BD41B7D}" type="presParOf" srcId="{513884D2-23BD-4BD4-8ACF-4A7F90BA7C36}" destId="{69C77B1D-4C06-49BA-B1C8-0C39C786FFF6}" srcOrd="4" destOrd="0" presId="urn:microsoft.com/office/officeart/2008/layout/HorizontalMultiLevelHierarchy"/>
    <dgm:cxn modelId="{E29A41C1-38E8-4614-8CC1-CA785BC40A00}" type="presParOf" srcId="{69C77B1D-4C06-49BA-B1C8-0C39C786FFF6}" destId="{DC30E96A-935E-4710-AA33-1FB12DA1067D}" srcOrd="0" destOrd="0" presId="urn:microsoft.com/office/officeart/2008/layout/HorizontalMultiLevelHierarchy"/>
    <dgm:cxn modelId="{074CA393-714D-4589-A56B-A6EFE95DF3B7}" type="presParOf" srcId="{513884D2-23BD-4BD4-8ACF-4A7F90BA7C36}" destId="{C0E50727-56A5-4A45-9DE3-7DA8B2F5343A}" srcOrd="5" destOrd="0" presId="urn:microsoft.com/office/officeart/2008/layout/HorizontalMultiLevelHierarchy"/>
    <dgm:cxn modelId="{E9A71F81-45E0-4B6B-AD8A-1B6348D59EED}" type="presParOf" srcId="{C0E50727-56A5-4A45-9DE3-7DA8B2F5343A}" destId="{BD05E54A-A5DA-4350-981F-ABF3C02358C9}" srcOrd="0" destOrd="0" presId="urn:microsoft.com/office/officeart/2008/layout/HorizontalMultiLevelHierarchy"/>
    <dgm:cxn modelId="{32EE8931-250B-46C5-AAC9-474803930727}" type="presParOf" srcId="{C0E50727-56A5-4A45-9DE3-7DA8B2F5343A}" destId="{0B89BD43-884E-4F9D-BF7D-3E4E629D7B6F}" srcOrd="1" destOrd="0" presId="urn:microsoft.com/office/officeart/2008/layout/HorizontalMultiLevelHierarchy"/>
    <dgm:cxn modelId="{FB977657-2724-4224-98F8-449FCF5D9388}" type="presParOf" srcId="{0B89BD43-884E-4F9D-BF7D-3E4E629D7B6F}" destId="{BA8229D2-E03A-44AB-B5CD-966D5C450E02}" srcOrd="0" destOrd="0" presId="urn:microsoft.com/office/officeart/2008/layout/HorizontalMultiLevelHierarchy"/>
    <dgm:cxn modelId="{49DC934E-3A2B-4484-89E2-70683F42535A}" type="presParOf" srcId="{BA8229D2-E03A-44AB-B5CD-966D5C450E02}" destId="{76BFC593-9871-4279-8A5C-42AE1C63D400}" srcOrd="0" destOrd="0" presId="urn:microsoft.com/office/officeart/2008/layout/HorizontalMultiLevelHierarchy"/>
    <dgm:cxn modelId="{4DF60C11-A9D7-4183-8C13-1FFB603F9BDD}" type="presParOf" srcId="{0B89BD43-884E-4F9D-BF7D-3E4E629D7B6F}" destId="{42183F72-4959-40F0-B1A1-996C1BB19579}" srcOrd="1" destOrd="0" presId="urn:microsoft.com/office/officeart/2008/layout/HorizontalMultiLevelHierarchy"/>
    <dgm:cxn modelId="{F7AC76F7-2924-4CAC-8FAE-4A581EBB53AF}" type="presParOf" srcId="{42183F72-4959-40F0-B1A1-996C1BB19579}" destId="{7CA560A5-96BE-4ED6-95C2-D29888BE7B97}" srcOrd="0" destOrd="0" presId="urn:microsoft.com/office/officeart/2008/layout/HorizontalMultiLevelHierarchy"/>
    <dgm:cxn modelId="{78158B46-4E5F-4762-B678-1845B9A91257}" type="presParOf" srcId="{42183F72-4959-40F0-B1A1-996C1BB19579}" destId="{CABA4DEE-58C2-4556-AE2A-65E504CBF5EC}" srcOrd="1" destOrd="0" presId="urn:microsoft.com/office/officeart/2008/layout/HorizontalMultiLevelHierarchy"/>
    <dgm:cxn modelId="{9C96E32E-CA73-42B5-BD3A-7E6B40F66611}" type="presParOf" srcId="{513884D2-23BD-4BD4-8ACF-4A7F90BA7C36}" destId="{9C9ABE0D-EFCF-45B0-B976-4C8BF2331F1C}" srcOrd="6" destOrd="0" presId="urn:microsoft.com/office/officeart/2008/layout/HorizontalMultiLevelHierarchy"/>
    <dgm:cxn modelId="{FE4088AC-F06D-44C2-BBB3-6089894C50A4}" type="presParOf" srcId="{9C9ABE0D-EFCF-45B0-B976-4C8BF2331F1C}" destId="{24BEB037-EECC-491A-8E0F-361C8F16B1BF}" srcOrd="0" destOrd="0" presId="urn:microsoft.com/office/officeart/2008/layout/HorizontalMultiLevelHierarchy"/>
    <dgm:cxn modelId="{1BF08784-2DF0-415F-B385-68E85F09E276}" type="presParOf" srcId="{513884D2-23BD-4BD4-8ACF-4A7F90BA7C36}" destId="{007580E9-BC1F-485B-8ACD-34DD0DF37910}" srcOrd="7" destOrd="0" presId="urn:microsoft.com/office/officeart/2008/layout/HorizontalMultiLevelHierarchy"/>
    <dgm:cxn modelId="{38CA9BE3-A16C-4C29-A2C0-E1096D4E3290}" type="presParOf" srcId="{007580E9-BC1F-485B-8ACD-34DD0DF37910}" destId="{11E38B37-816D-4742-88D4-570909B57085}" srcOrd="0" destOrd="0" presId="urn:microsoft.com/office/officeart/2008/layout/HorizontalMultiLevelHierarchy"/>
    <dgm:cxn modelId="{EF134624-0E4C-4403-B551-15D9E621DE2A}" type="presParOf" srcId="{007580E9-BC1F-485B-8ACD-34DD0DF37910}" destId="{957E4717-E8F0-488C-AB1F-837177BB35E5}" srcOrd="1" destOrd="0" presId="urn:microsoft.com/office/officeart/2008/layout/HorizontalMultiLevelHierarchy"/>
    <dgm:cxn modelId="{6A2516AE-9EA9-47B7-BA0A-D0A44E3EDF27}" type="presParOf" srcId="{957E4717-E8F0-488C-AB1F-837177BB35E5}" destId="{A1771AD8-E19A-4A6D-B91B-E651DA1212A6}" srcOrd="0" destOrd="0" presId="urn:microsoft.com/office/officeart/2008/layout/HorizontalMultiLevelHierarchy"/>
    <dgm:cxn modelId="{8BE52AF0-34C9-484F-9F33-C4699A52B43F}" type="presParOf" srcId="{A1771AD8-E19A-4A6D-B91B-E651DA1212A6}" destId="{785C421A-BAD1-47F7-8A55-5C0E2C712449}" srcOrd="0" destOrd="0" presId="urn:microsoft.com/office/officeart/2008/layout/HorizontalMultiLevelHierarchy"/>
    <dgm:cxn modelId="{9DDE87C4-3407-43BF-905C-A9FC77057740}" type="presParOf" srcId="{957E4717-E8F0-488C-AB1F-837177BB35E5}" destId="{38E929CE-4AB4-4AF8-9785-0BF46F3A2645}" srcOrd="1" destOrd="0" presId="urn:microsoft.com/office/officeart/2008/layout/HorizontalMultiLevelHierarchy"/>
    <dgm:cxn modelId="{34CA53D4-38CC-4D26-AD67-017816884068}" type="presParOf" srcId="{38E929CE-4AB4-4AF8-9785-0BF46F3A2645}" destId="{03C174CB-0D81-48B0-8B36-9B605FA21759}" srcOrd="0" destOrd="0" presId="urn:microsoft.com/office/officeart/2008/layout/HorizontalMultiLevelHierarchy"/>
    <dgm:cxn modelId="{2551F614-B149-4C56-A347-71B43B09D0D7}" type="presParOf" srcId="{38E929CE-4AB4-4AF8-9785-0BF46F3A2645}" destId="{01002FA6-0C7F-47DB-97E6-0FC7C90E7908}" srcOrd="1" destOrd="0" presId="urn:microsoft.com/office/officeart/2008/layout/HorizontalMultiLevelHierarchy"/>
    <dgm:cxn modelId="{B8F763AD-E8C3-440A-998A-74A0B5E4E989}" type="presParOf" srcId="{5DDCD98F-57F6-409A-8E8C-058C527DACAF}" destId="{75AA4841-E212-45A6-8CB8-980E7A9C01B7}" srcOrd="2" destOrd="0" presId="urn:microsoft.com/office/officeart/2008/layout/HorizontalMultiLevelHierarchy"/>
    <dgm:cxn modelId="{FBBA9D67-B351-4909-AE8C-32DC8BC11620}" type="presParOf" srcId="{75AA4841-E212-45A6-8CB8-980E7A9C01B7}" destId="{9C5908F0-DA4D-47E0-AE01-1B274869A559}" srcOrd="0" destOrd="0" presId="urn:microsoft.com/office/officeart/2008/layout/HorizontalMultiLevelHierarchy"/>
    <dgm:cxn modelId="{CF3C0C54-E73A-4843-AFE2-61607F5BDA1D}" type="presParOf" srcId="{5DDCD98F-57F6-409A-8E8C-058C527DACAF}" destId="{D2D43A8F-D705-44F2-9A46-C0F63D26A4BB}" srcOrd="3" destOrd="0" presId="urn:microsoft.com/office/officeart/2008/layout/HorizontalMultiLevelHierarchy"/>
    <dgm:cxn modelId="{32EF9184-86CD-4551-A596-36AEF1554A4B}" type="presParOf" srcId="{D2D43A8F-D705-44F2-9A46-C0F63D26A4BB}" destId="{9B279246-7754-46C5-A14E-996138D2A9C8}" srcOrd="0" destOrd="0" presId="urn:microsoft.com/office/officeart/2008/layout/HorizontalMultiLevelHierarchy"/>
    <dgm:cxn modelId="{9F3C760B-BD2C-4290-AE62-7B69E10E00B3}" type="presParOf" srcId="{D2D43A8F-D705-44F2-9A46-C0F63D26A4BB}" destId="{75C5E60C-7D5C-4B8C-8B40-D058954D22C9}" srcOrd="1" destOrd="0" presId="urn:microsoft.com/office/officeart/2008/layout/HorizontalMultiLevelHierarchy"/>
    <dgm:cxn modelId="{CF80D380-B09B-4167-8AA2-73251A08A6E3}" type="presParOf" srcId="{75C5E60C-7D5C-4B8C-8B40-D058954D22C9}" destId="{6EB51B8C-2C0F-42EF-BA83-23780C46EBB5}" srcOrd="0" destOrd="0" presId="urn:microsoft.com/office/officeart/2008/layout/HorizontalMultiLevelHierarchy"/>
    <dgm:cxn modelId="{9BBE8FED-FA0D-4B91-9849-58F798D0828F}" type="presParOf" srcId="{6EB51B8C-2C0F-42EF-BA83-23780C46EBB5}" destId="{C8C62441-FC64-4F00-B340-BEFFCDD8DDBA}" srcOrd="0" destOrd="0" presId="urn:microsoft.com/office/officeart/2008/layout/HorizontalMultiLevelHierarchy"/>
    <dgm:cxn modelId="{55C245F9-2B95-4954-8E62-259FA9604C4C}" type="presParOf" srcId="{75C5E60C-7D5C-4B8C-8B40-D058954D22C9}" destId="{6016ABC6-0AEC-471B-BB85-B82711EACB0D}" srcOrd="1" destOrd="0" presId="urn:microsoft.com/office/officeart/2008/layout/HorizontalMultiLevelHierarchy"/>
    <dgm:cxn modelId="{C6632466-777C-48B1-B24A-022F7700603E}" type="presParOf" srcId="{6016ABC6-0AEC-471B-BB85-B82711EACB0D}" destId="{C75FB6BE-918C-4449-B722-82193576732C}" srcOrd="0" destOrd="0" presId="urn:microsoft.com/office/officeart/2008/layout/HorizontalMultiLevelHierarchy"/>
    <dgm:cxn modelId="{9F73D6E8-F84C-47F3-9BD2-4DD8D61419FD}" type="presParOf" srcId="{6016ABC6-0AEC-471B-BB85-B82711EACB0D}" destId="{95AC4217-48E8-4867-92B4-69D6C19DFD9C}" srcOrd="1" destOrd="0" presId="urn:microsoft.com/office/officeart/2008/layout/HorizontalMultiLevelHierarchy"/>
    <dgm:cxn modelId="{2DBA3D9C-A0E0-47C7-A34F-47F85BCF5CC7}" type="presParOf" srcId="{95AC4217-48E8-4867-92B4-69D6C19DFD9C}" destId="{5D5FF251-4F3E-4C3A-82CD-CEDDAC51DAC5}" srcOrd="0" destOrd="0" presId="urn:microsoft.com/office/officeart/2008/layout/HorizontalMultiLevelHierarchy"/>
    <dgm:cxn modelId="{FBA31DE2-0EB7-4A25-8CCC-0BEFCC7C8903}" type="presParOf" srcId="{5D5FF251-4F3E-4C3A-82CD-CEDDAC51DAC5}" destId="{35F72A11-8F91-4B6D-BFFB-DC413B1C0AD6}" srcOrd="0" destOrd="0" presId="urn:microsoft.com/office/officeart/2008/layout/HorizontalMultiLevelHierarchy"/>
    <dgm:cxn modelId="{8C943A80-B3E7-4B47-9584-0A8788BC6B65}" type="presParOf" srcId="{95AC4217-48E8-4867-92B4-69D6C19DFD9C}" destId="{88502710-3F90-487F-B051-F6BFFCFC7FB1}" srcOrd="1" destOrd="0" presId="urn:microsoft.com/office/officeart/2008/layout/HorizontalMultiLevelHierarchy"/>
    <dgm:cxn modelId="{7F240F28-7774-430E-ACF5-19B76C08E372}" type="presParOf" srcId="{88502710-3F90-487F-B051-F6BFFCFC7FB1}" destId="{B10000DC-6505-454C-A326-6DCD9E81335B}" srcOrd="0" destOrd="0" presId="urn:microsoft.com/office/officeart/2008/layout/HorizontalMultiLevelHierarchy"/>
    <dgm:cxn modelId="{2D59ED32-3A7E-4F6A-B105-55D4982EA667}" type="presParOf" srcId="{88502710-3F90-487F-B051-F6BFFCFC7FB1}" destId="{F3CFBBBE-6706-4F8B-B6F9-BD76784070A8}" srcOrd="1" destOrd="0" presId="urn:microsoft.com/office/officeart/2008/layout/HorizontalMultiLevelHierarchy"/>
    <dgm:cxn modelId="{24BFB14D-80D1-4094-9565-23BF9233946B}" type="presParOf" srcId="{75C5E60C-7D5C-4B8C-8B40-D058954D22C9}" destId="{8438AB9D-B5BF-4241-AA21-A9E7DEA53153}" srcOrd="2" destOrd="0" presId="urn:microsoft.com/office/officeart/2008/layout/HorizontalMultiLevelHierarchy"/>
    <dgm:cxn modelId="{AA404F57-D9E7-459D-B863-CC6EA44DF39F}" type="presParOf" srcId="{8438AB9D-B5BF-4241-AA21-A9E7DEA53153}" destId="{65F484B4-F682-4175-90B7-E02E8B4CBAA9}" srcOrd="0" destOrd="0" presId="urn:microsoft.com/office/officeart/2008/layout/HorizontalMultiLevelHierarchy"/>
    <dgm:cxn modelId="{C8CA9DDE-EAC0-4488-B70F-1FD393FEBE87}" type="presParOf" srcId="{75C5E60C-7D5C-4B8C-8B40-D058954D22C9}" destId="{DA9EA1A1-71A3-4574-A75F-58D636670CB6}" srcOrd="3" destOrd="0" presId="urn:microsoft.com/office/officeart/2008/layout/HorizontalMultiLevelHierarchy"/>
    <dgm:cxn modelId="{00DCED39-01EC-4AEE-9D10-BE9717F73D88}" type="presParOf" srcId="{DA9EA1A1-71A3-4574-A75F-58D636670CB6}" destId="{112EB765-CDB0-4916-9E42-D72BEC2B73C1}" srcOrd="0" destOrd="0" presId="urn:microsoft.com/office/officeart/2008/layout/HorizontalMultiLevelHierarchy"/>
    <dgm:cxn modelId="{E0BB6EF7-745D-4DB8-9D28-5AE72B6D3D75}" type="presParOf" srcId="{DA9EA1A1-71A3-4574-A75F-58D636670CB6}" destId="{F10712CA-5F1C-4B92-AB61-AD83B88AE786}" srcOrd="1" destOrd="0" presId="urn:microsoft.com/office/officeart/2008/layout/HorizontalMultiLevelHierarchy"/>
    <dgm:cxn modelId="{D63F0E50-E4B7-4262-BF1C-DEC04494D564}" type="presParOf" srcId="{F10712CA-5F1C-4B92-AB61-AD83B88AE786}" destId="{D9C64F90-3A2A-4F74-9758-68B008977C02}" srcOrd="0" destOrd="0" presId="urn:microsoft.com/office/officeart/2008/layout/HorizontalMultiLevelHierarchy"/>
    <dgm:cxn modelId="{8A5296A1-855B-4D76-B8C0-D32CA2E192E3}" type="presParOf" srcId="{D9C64F90-3A2A-4F74-9758-68B008977C02}" destId="{9FA61F90-7677-4D6E-8F41-6919FD19BCDC}" srcOrd="0" destOrd="0" presId="urn:microsoft.com/office/officeart/2008/layout/HorizontalMultiLevelHierarchy"/>
    <dgm:cxn modelId="{1D652854-A75B-4FF3-ADF6-27B9B44D8A17}" type="presParOf" srcId="{F10712CA-5F1C-4B92-AB61-AD83B88AE786}" destId="{CD5959E3-DAF9-4A0E-88F9-F6B2B506FFC7}" srcOrd="1" destOrd="0" presId="urn:microsoft.com/office/officeart/2008/layout/HorizontalMultiLevelHierarchy"/>
    <dgm:cxn modelId="{2DF74472-70AA-4200-99BC-D0A9F0397AFA}" type="presParOf" srcId="{CD5959E3-DAF9-4A0E-88F9-F6B2B506FFC7}" destId="{0C9A6F18-099D-4CB6-AEC9-8F0AAF53FF8C}" srcOrd="0" destOrd="0" presId="urn:microsoft.com/office/officeart/2008/layout/HorizontalMultiLevelHierarchy"/>
    <dgm:cxn modelId="{233140D3-57A1-4E7B-906F-5C9185B208A0}" type="presParOf" srcId="{CD5959E3-DAF9-4A0E-88F9-F6B2B506FFC7}" destId="{85F44828-3E90-46E2-92C8-3E169B49CF54}" srcOrd="1" destOrd="0" presId="urn:microsoft.com/office/officeart/2008/layout/HorizontalMultiLevelHierarchy"/>
    <dgm:cxn modelId="{3829517A-CE50-4445-82CA-3499ED5052C6}" type="presParOf" srcId="{75C5E60C-7D5C-4B8C-8B40-D058954D22C9}" destId="{F4656B59-9D11-4955-B1B0-005B75765283}" srcOrd="4" destOrd="0" presId="urn:microsoft.com/office/officeart/2008/layout/HorizontalMultiLevelHierarchy"/>
    <dgm:cxn modelId="{640698A0-FDF3-4BF5-84B7-BDFEDE48F834}" type="presParOf" srcId="{F4656B59-9D11-4955-B1B0-005B75765283}" destId="{2FE83C35-6E9B-4CA4-8165-3BADCD04B595}" srcOrd="0" destOrd="0" presId="urn:microsoft.com/office/officeart/2008/layout/HorizontalMultiLevelHierarchy"/>
    <dgm:cxn modelId="{C3905C92-F2E6-462D-B7A0-D99202BABF51}" type="presParOf" srcId="{75C5E60C-7D5C-4B8C-8B40-D058954D22C9}" destId="{D805338C-DEF9-4289-A7A9-914CB71246F3}" srcOrd="5" destOrd="0" presId="urn:microsoft.com/office/officeart/2008/layout/HorizontalMultiLevelHierarchy"/>
    <dgm:cxn modelId="{848880AF-CBE9-4E32-AAB2-FF86B49D390D}" type="presParOf" srcId="{D805338C-DEF9-4289-A7A9-914CB71246F3}" destId="{7F9D759E-01C6-42F2-9955-A6F4188FE5AC}" srcOrd="0" destOrd="0" presId="urn:microsoft.com/office/officeart/2008/layout/HorizontalMultiLevelHierarchy"/>
    <dgm:cxn modelId="{28F657D8-5325-4AB5-8D58-7B2C57916D05}" type="presParOf" srcId="{D805338C-DEF9-4289-A7A9-914CB71246F3}" destId="{9C8AC5FD-FDC6-4011-B30B-2C88A71E9006}" srcOrd="1" destOrd="0" presId="urn:microsoft.com/office/officeart/2008/layout/HorizontalMultiLevelHierarchy"/>
    <dgm:cxn modelId="{D0341985-3693-45C4-9C7C-CEB0E839C0A7}" type="presParOf" srcId="{9C8AC5FD-FDC6-4011-B30B-2C88A71E9006}" destId="{86507B1A-246E-4960-B71E-4440D455B118}" srcOrd="0" destOrd="0" presId="urn:microsoft.com/office/officeart/2008/layout/HorizontalMultiLevelHierarchy"/>
    <dgm:cxn modelId="{F93B022C-44A7-42AD-8B32-9BF02F653F31}" type="presParOf" srcId="{86507B1A-246E-4960-B71E-4440D455B118}" destId="{3D5E7BFA-B6B2-45BF-9FF7-6629D5C3F93D}" srcOrd="0" destOrd="0" presId="urn:microsoft.com/office/officeart/2008/layout/HorizontalMultiLevelHierarchy"/>
    <dgm:cxn modelId="{60E534D2-6D3A-4FB6-A485-8B2DE5F1639A}" type="presParOf" srcId="{9C8AC5FD-FDC6-4011-B30B-2C88A71E9006}" destId="{EA60BFE1-0580-4A5F-9AE2-BA1DBF472877}" srcOrd="1" destOrd="0" presId="urn:microsoft.com/office/officeart/2008/layout/HorizontalMultiLevelHierarchy"/>
    <dgm:cxn modelId="{4E587037-6AB3-4E09-B519-2A325D35BF60}" type="presParOf" srcId="{EA60BFE1-0580-4A5F-9AE2-BA1DBF472877}" destId="{7C20DA3D-4130-444E-A21B-651D8D4F1629}" srcOrd="0" destOrd="0" presId="urn:microsoft.com/office/officeart/2008/layout/HorizontalMultiLevelHierarchy"/>
    <dgm:cxn modelId="{8170C403-AC77-4979-A3EB-D3694E1B70FE}" type="presParOf" srcId="{EA60BFE1-0580-4A5F-9AE2-BA1DBF472877}" destId="{ACF5744F-DD56-4D11-A4B2-C246F4A13273}" srcOrd="1" destOrd="0" presId="urn:microsoft.com/office/officeart/2008/layout/HorizontalMultiLevelHierarchy"/>
    <dgm:cxn modelId="{B85EC440-CE60-4CE1-BA90-5E967ECB8543}" type="presParOf" srcId="{75C5E60C-7D5C-4B8C-8B40-D058954D22C9}" destId="{13E11B18-65FA-4052-963E-DBBDED4506CC}" srcOrd="6" destOrd="0" presId="urn:microsoft.com/office/officeart/2008/layout/HorizontalMultiLevelHierarchy"/>
    <dgm:cxn modelId="{979422DC-7DE1-4205-83A2-F09C565CF72D}" type="presParOf" srcId="{13E11B18-65FA-4052-963E-DBBDED4506CC}" destId="{CD7B5AB3-2BF0-4203-9964-D1E46EE356B3}" srcOrd="0" destOrd="0" presId="urn:microsoft.com/office/officeart/2008/layout/HorizontalMultiLevelHierarchy"/>
    <dgm:cxn modelId="{2328F307-59CF-45BE-97A8-FDA7B516A929}" type="presParOf" srcId="{75C5E60C-7D5C-4B8C-8B40-D058954D22C9}" destId="{12907156-DA9C-4C5F-877D-B83FCBFEB644}" srcOrd="7" destOrd="0" presId="urn:microsoft.com/office/officeart/2008/layout/HorizontalMultiLevelHierarchy"/>
    <dgm:cxn modelId="{D6A50670-2838-4060-84D7-6EC94E90370E}" type="presParOf" srcId="{12907156-DA9C-4C5F-877D-B83FCBFEB644}" destId="{E8BA7911-EDDE-465F-BA01-3D75DCBFCEAD}" srcOrd="0" destOrd="0" presId="urn:microsoft.com/office/officeart/2008/layout/HorizontalMultiLevelHierarchy"/>
    <dgm:cxn modelId="{D3AC2E82-F225-4FB1-9A33-69E098A567B3}" type="presParOf" srcId="{12907156-DA9C-4C5F-877D-B83FCBFEB644}" destId="{07FC2A86-B984-4075-B95D-4E10549C0CED}" srcOrd="1" destOrd="0" presId="urn:microsoft.com/office/officeart/2008/layout/HorizontalMultiLevelHierarchy"/>
    <dgm:cxn modelId="{98BB2EB6-DDC4-46D9-AA1A-A2961A8C9C4B}" type="presParOf" srcId="{07FC2A86-B984-4075-B95D-4E10549C0CED}" destId="{8D090EA9-599D-4E10-94BE-D6F613CC3727}" srcOrd="0" destOrd="0" presId="urn:microsoft.com/office/officeart/2008/layout/HorizontalMultiLevelHierarchy"/>
    <dgm:cxn modelId="{678BDE1B-3374-44D9-B027-67CE95F72835}" type="presParOf" srcId="{8D090EA9-599D-4E10-94BE-D6F613CC3727}" destId="{1608FA00-A918-403E-97E9-054F7A979823}" srcOrd="0" destOrd="0" presId="urn:microsoft.com/office/officeart/2008/layout/HorizontalMultiLevelHierarchy"/>
    <dgm:cxn modelId="{048815E2-6E8D-4446-BFAB-7B066CB5C71F}" type="presParOf" srcId="{07FC2A86-B984-4075-B95D-4E10549C0CED}" destId="{9DD9F076-B00D-41CF-8190-4B9B91EC62F7}" srcOrd="1" destOrd="0" presId="urn:microsoft.com/office/officeart/2008/layout/HorizontalMultiLevelHierarchy"/>
    <dgm:cxn modelId="{5B69229B-90D4-4206-A393-D8CED02ACC39}" type="presParOf" srcId="{9DD9F076-B00D-41CF-8190-4B9B91EC62F7}" destId="{DE7ADCB6-C43E-4A0E-865B-4487EB9D6ABE}" srcOrd="0" destOrd="0" presId="urn:microsoft.com/office/officeart/2008/layout/HorizontalMultiLevelHierarchy"/>
    <dgm:cxn modelId="{5A0472B6-B761-4883-857F-681E99BCF8B2}" type="presParOf" srcId="{9DD9F076-B00D-41CF-8190-4B9B91EC62F7}" destId="{B53F00FB-8BCC-4E35-B1EF-AE17F0C01EA5}" srcOrd="1" destOrd="0" presId="urn:microsoft.com/office/officeart/2008/layout/HorizontalMultiLevelHierarchy"/>
    <dgm:cxn modelId="{D2E7F983-3570-43A8-ABB6-C4357457DB49}" type="presParOf" srcId="{5DDCD98F-57F6-409A-8E8C-058C527DACAF}" destId="{9455C8F2-F22C-4500-BF7B-99D088CF0C03}" srcOrd="4" destOrd="0" presId="urn:microsoft.com/office/officeart/2008/layout/HorizontalMultiLevelHierarchy"/>
    <dgm:cxn modelId="{B1804836-5062-4E18-B4B4-282DB8799CBF}" type="presParOf" srcId="{9455C8F2-F22C-4500-BF7B-99D088CF0C03}" destId="{A0863CEC-2142-43A5-AA35-327A9E9F2AFA}" srcOrd="0" destOrd="0" presId="urn:microsoft.com/office/officeart/2008/layout/HorizontalMultiLevelHierarchy"/>
    <dgm:cxn modelId="{DFDBA904-CB73-4C17-A1FF-2374B43AAA68}" type="presParOf" srcId="{5DDCD98F-57F6-409A-8E8C-058C527DACAF}" destId="{F8D38B20-5DCF-4524-AC62-4A69B82CABC0}" srcOrd="5" destOrd="0" presId="urn:microsoft.com/office/officeart/2008/layout/HorizontalMultiLevelHierarchy"/>
    <dgm:cxn modelId="{CA7390BC-112B-47F1-93A7-69B2689BEBDB}" type="presParOf" srcId="{F8D38B20-5DCF-4524-AC62-4A69B82CABC0}" destId="{B7DF67D2-BE40-4FCA-90A5-AC5C17737B78}" srcOrd="0" destOrd="0" presId="urn:microsoft.com/office/officeart/2008/layout/HorizontalMultiLevelHierarchy"/>
    <dgm:cxn modelId="{50128460-21D4-4E4C-B46A-9361CC5E67FC}" type="presParOf" srcId="{F8D38B20-5DCF-4524-AC62-4A69B82CABC0}" destId="{8F48F9BE-9A32-4999-9CD7-94AC591F8BBC}" srcOrd="1" destOrd="0" presId="urn:microsoft.com/office/officeart/2008/layout/HorizontalMultiLevelHierarchy"/>
    <dgm:cxn modelId="{C6A08436-6354-4BB9-810B-D2FE7646E2C5}" type="presParOf" srcId="{8F48F9BE-9A32-4999-9CD7-94AC591F8BBC}" destId="{B47B1EE5-1FCD-4400-8367-4D8676891FB9}" srcOrd="0" destOrd="0" presId="urn:microsoft.com/office/officeart/2008/layout/HorizontalMultiLevelHierarchy"/>
    <dgm:cxn modelId="{61691096-DC1F-4849-859F-DC83F433D8D8}" type="presParOf" srcId="{B47B1EE5-1FCD-4400-8367-4D8676891FB9}" destId="{A1F62238-81EC-4C6E-BB50-6B6EFEEC68A2}" srcOrd="0" destOrd="0" presId="urn:microsoft.com/office/officeart/2008/layout/HorizontalMultiLevelHierarchy"/>
    <dgm:cxn modelId="{5C5ACFA6-EE8E-44BD-B56E-8BC4E1F28277}" type="presParOf" srcId="{8F48F9BE-9A32-4999-9CD7-94AC591F8BBC}" destId="{9AD161B3-7F2E-4C02-BB9D-8ABEC7C0BBE9}" srcOrd="1" destOrd="0" presId="urn:microsoft.com/office/officeart/2008/layout/HorizontalMultiLevelHierarchy"/>
    <dgm:cxn modelId="{DE8A9F5B-AD29-4B82-A3FF-294BD40E219F}" type="presParOf" srcId="{9AD161B3-7F2E-4C02-BB9D-8ABEC7C0BBE9}" destId="{FA08A9BB-ADE7-46F7-8CE5-71275297295B}" srcOrd="0" destOrd="0" presId="urn:microsoft.com/office/officeart/2008/layout/HorizontalMultiLevelHierarchy"/>
    <dgm:cxn modelId="{10BEB91D-01DB-4612-8A44-86415EAD0B0D}" type="presParOf" srcId="{9AD161B3-7F2E-4C02-BB9D-8ABEC7C0BBE9}" destId="{C0DBC41B-7CD6-46B1-B521-C6A557E496ED}" srcOrd="1" destOrd="0" presId="urn:microsoft.com/office/officeart/2008/layout/HorizontalMultiLevelHierarchy"/>
    <dgm:cxn modelId="{D40BC5F6-153E-468F-8010-1E5D948126F6}" type="presParOf" srcId="{C0DBC41B-7CD6-46B1-B521-C6A557E496ED}" destId="{BC817E31-50F4-4EE8-8573-7644FA59AE5E}" srcOrd="0" destOrd="0" presId="urn:microsoft.com/office/officeart/2008/layout/HorizontalMultiLevelHierarchy"/>
    <dgm:cxn modelId="{C760D398-A2DA-4D33-BFAB-10E1AE7A0873}" type="presParOf" srcId="{BC817E31-50F4-4EE8-8573-7644FA59AE5E}" destId="{A8DA3406-B764-4839-BEF2-0F7C93E038FC}" srcOrd="0" destOrd="0" presId="urn:microsoft.com/office/officeart/2008/layout/HorizontalMultiLevelHierarchy"/>
    <dgm:cxn modelId="{E1C84945-8642-4FC7-BD1F-615C29C9FEA4}" type="presParOf" srcId="{C0DBC41B-7CD6-46B1-B521-C6A557E496ED}" destId="{C35D976C-4FB0-46FE-BC37-ECA745DC05E7}" srcOrd="1" destOrd="0" presId="urn:microsoft.com/office/officeart/2008/layout/HorizontalMultiLevelHierarchy"/>
    <dgm:cxn modelId="{42563E2A-CC2C-456B-A4E5-62D4555A017A}" type="presParOf" srcId="{C35D976C-4FB0-46FE-BC37-ECA745DC05E7}" destId="{5AEA799C-22DA-4DF1-B48D-E880B7012380}" srcOrd="0" destOrd="0" presId="urn:microsoft.com/office/officeart/2008/layout/HorizontalMultiLevelHierarchy"/>
    <dgm:cxn modelId="{37C0FA99-4A69-479A-A2CB-A06C2CF59004}" type="presParOf" srcId="{C35D976C-4FB0-46FE-BC37-ECA745DC05E7}" destId="{65DC03F5-CB7B-42D8-A100-28751C0BA239}" srcOrd="1" destOrd="0" presId="urn:microsoft.com/office/officeart/2008/layout/HorizontalMultiLevelHierarchy"/>
    <dgm:cxn modelId="{ED0B084A-816A-45D8-98D2-9FC4C9943B16}" type="presParOf" srcId="{8F48F9BE-9A32-4999-9CD7-94AC591F8BBC}" destId="{0CD6B3CA-8178-4904-B5D7-40E9E66FED05}" srcOrd="2" destOrd="0" presId="urn:microsoft.com/office/officeart/2008/layout/HorizontalMultiLevelHierarchy"/>
    <dgm:cxn modelId="{C6326BBC-23CE-46CE-9B34-265BBE65081F}" type="presParOf" srcId="{0CD6B3CA-8178-4904-B5D7-40E9E66FED05}" destId="{4A8E4241-C6CF-4259-8CD4-EC3F159A419E}" srcOrd="0" destOrd="0" presId="urn:microsoft.com/office/officeart/2008/layout/HorizontalMultiLevelHierarchy"/>
    <dgm:cxn modelId="{646B94E6-7FA7-4539-BDCB-D3F5331C4824}" type="presParOf" srcId="{8F48F9BE-9A32-4999-9CD7-94AC591F8BBC}" destId="{3EC99BE2-53A1-4B55-B544-7E7BA98AE5FE}" srcOrd="3" destOrd="0" presId="urn:microsoft.com/office/officeart/2008/layout/HorizontalMultiLevelHierarchy"/>
    <dgm:cxn modelId="{43962617-77A1-49BB-8CBC-6689D2CBB3BE}" type="presParOf" srcId="{3EC99BE2-53A1-4B55-B544-7E7BA98AE5FE}" destId="{45A12A60-4DB4-4215-9955-3642E4B9F4DC}" srcOrd="0" destOrd="0" presId="urn:microsoft.com/office/officeart/2008/layout/HorizontalMultiLevelHierarchy"/>
    <dgm:cxn modelId="{08C3ED19-D3D6-40B1-8C84-9C457F673D28}" type="presParOf" srcId="{3EC99BE2-53A1-4B55-B544-7E7BA98AE5FE}" destId="{CCF4D6DF-BDA2-49B1-9BD6-DE6F5CE05D73}" srcOrd="1" destOrd="0" presId="urn:microsoft.com/office/officeart/2008/layout/HorizontalMultiLevelHierarchy"/>
    <dgm:cxn modelId="{789DE6FC-5E51-46DB-8763-9F7BB8DBF60D}" type="presParOf" srcId="{CCF4D6DF-BDA2-49B1-9BD6-DE6F5CE05D73}" destId="{0747899D-A0A4-47A8-B98E-0583690DABE9}" srcOrd="0" destOrd="0" presId="urn:microsoft.com/office/officeart/2008/layout/HorizontalMultiLevelHierarchy"/>
    <dgm:cxn modelId="{B7BDED56-8AC9-4A06-9662-C73CF4AED4BA}" type="presParOf" srcId="{0747899D-A0A4-47A8-B98E-0583690DABE9}" destId="{86C01574-BC6E-4FA2-81A6-5D4D88A7EFA3}" srcOrd="0" destOrd="0" presId="urn:microsoft.com/office/officeart/2008/layout/HorizontalMultiLevelHierarchy"/>
    <dgm:cxn modelId="{1034D690-0C58-4FED-873F-CAD7D9B55E75}" type="presParOf" srcId="{CCF4D6DF-BDA2-49B1-9BD6-DE6F5CE05D73}" destId="{C5CA9B4D-25EE-4EE9-94EE-6ED7097C7A9A}" srcOrd="1" destOrd="0" presId="urn:microsoft.com/office/officeart/2008/layout/HorizontalMultiLevelHierarchy"/>
    <dgm:cxn modelId="{A0F4992C-FF4B-49C4-80E2-80C38EEDB9F9}" type="presParOf" srcId="{C5CA9B4D-25EE-4EE9-94EE-6ED7097C7A9A}" destId="{A06CC969-3612-4D5A-806B-F9D6DC13380C}" srcOrd="0" destOrd="0" presId="urn:microsoft.com/office/officeart/2008/layout/HorizontalMultiLevelHierarchy"/>
    <dgm:cxn modelId="{29F8955F-16C7-4171-B02D-4E1B854EA41D}" type="presParOf" srcId="{C5CA9B4D-25EE-4EE9-94EE-6ED7097C7A9A}" destId="{0B588442-5A48-4318-B81F-950ABA262BC8}" srcOrd="1" destOrd="0" presId="urn:microsoft.com/office/officeart/2008/layout/HorizontalMultiLevelHierarchy"/>
    <dgm:cxn modelId="{76CEC4DF-9EFD-4909-B4E6-D7AED50335DF}" type="presParOf" srcId="{8F48F9BE-9A32-4999-9CD7-94AC591F8BBC}" destId="{15BDF5E6-E42B-4855-977F-223FA9796A3C}" srcOrd="4" destOrd="0" presId="urn:microsoft.com/office/officeart/2008/layout/HorizontalMultiLevelHierarchy"/>
    <dgm:cxn modelId="{87DAEDED-8C54-4249-BE7E-938C494AC91C}" type="presParOf" srcId="{15BDF5E6-E42B-4855-977F-223FA9796A3C}" destId="{CF7A05B4-9775-46E1-A05F-8FDF5737D805}" srcOrd="0" destOrd="0" presId="urn:microsoft.com/office/officeart/2008/layout/HorizontalMultiLevelHierarchy"/>
    <dgm:cxn modelId="{ED1538E4-21DD-4CE5-A88C-421C52428132}" type="presParOf" srcId="{8F48F9BE-9A32-4999-9CD7-94AC591F8BBC}" destId="{0ECC402C-3122-40A1-A1EF-F756601F9834}" srcOrd="5" destOrd="0" presId="urn:microsoft.com/office/officeart/2008/layout/HorizontalMultiLevelHierarchy"/>
    <dgm:cxn modelId="{C77602B5-F6D8-46BC-8DE7-3953396D1833}" type="presParOf" srcId="{0ECC402C-3122-40A1-A1EF-F756601F9834}" destId="{C090270F-8E2A-4766-B255-11BBC9816288}" srcOrd="0" destOrd="0" presId="urn:microsoft.com/office/officeart/2008/layout/HorizontalMultiLevelHierarchy"/>
    <dgm:cxn modelId="{930CCA62-68CB-43E3-A015-6C781B302B28}" type="presParOf" srcId="{0ECC402C-3122-40A1-A1EF-F756601F9834}" destId="{A65C81D8-8080-4632-9CD9-4254BB05B59D}" srcOrd="1" destOrd="0" presId="urn:microsoft.com/office/officeart/2008/layout/HorizontalMultiLevelHierarchy"/>
    <dgm:cxn modelId="{9421F8A6-D071-4490-9030-948970C76D69}" type="presParOf" srcId="{A65C81D8-8080-4632-9CD9-4254BB05B59D}" destId="{D63E0CB8-2757-4526-A7CB-540150645A9F}" srcOrd="0" destOrd="0" presId="urn:microsoft.com/office/officeart/2008/layout/HorizontalMultiLevelHierarchy"/>
    <dgm:cxn modelId="{CF85820B-B26A-46B2-9D1B-4B3823A9780F}" type="presParOf" srcId="{D63E0CB8-2757-4526-A7CB-540150645A9F}" destId="{F4ECD2AF-0467-4FD2-A41C-FA8F7D25F3C0}" srcOrd="0" destOrd="0" presId="urn:microsoft.com/office/officeart/2008/layout/HorizontalMultiLevelHierarchy"/>
    <dgm:cxn modelId="{BA93C364-C6E9-49E4-ABC0-8603E2D5A2F9}" type="presParOf" srcId="{A65C81D8-8080-4632-9CD9-4254BB05B59D}" destId="{0B165A48-D177-4E47-B33E-0B8BF8200EAE}" srcOrd="1" destOrd="0" presId="urn:microsoft.com/office/officeart/2008/layout/HorizontalMultiLevelHierarchy"/>
    <dgm:cxn modelId="{D5D7EBA1-0DB9-4B75-83B4-3FE00EC396E7}" type="presParOf" srcId="{0B165A48-D177-4E47-B33E-0B8BF8200EAE}" destId="{2CDB35F6-B45B-4F85-B9A7-48646D07DD29}" srcOrd="0" destOrd="0" presId="urn:microsoft.com/office/officeart/2008/layout/HorizontalMultiLevelHierarchy"/>
    <dgm:cxn modelId="{D2CE4856-15FA-469C-96BD-5A3001392FD9}" type="presParOf" srcId="{0B165A48-D177-4E47-B33E-0B8BF8200EAE}" destId="{3A2B4781-B886-46F6-819D-1DC1E944BBA9}" srcOrd="1" destOrd="0" presId="urn:microsoft.com/office/officeart/2008/layout/HorizontalMultiLevelHierarchy"/>
    <dgm:cxn modelId="{AE74DD26-FFCF-4756-8F99-83C6720502C5}" type="presParOf" srcId="{A65C81D8-8080-4632-9CD9-4254BB05B59D}" destId="{2FC9680F-F75D-48C0-820C-FED37EA3BD07}" srcOrd="2" destOrd="0" presId="urn:microsoft.com/office/officeart/2008/layout/HorizontalMultiLevelHierarchy"/>
    <dgm:cxn modelId="{F957B29C-B787-4AB1-AD9C-A80AAACB9A42}" type="presParOf" srcId="{2FC9680F-F75D-48C0-820C-FED37EA3BD07}" destId="{FA095FFD-FE95-49C9-ABD3-ADFD1F42BD15}" srcOrd="0" destOrd="0" presId="urn:microsoft.com/office/officeart/2008/layout/HorizontalMultiLevelHierarchy"/>
    <dgm:cxn modelId="{44A1159B-4DA3-4800-A6C9-61437E057666}" type="presParOf" srcId="{A65C81D8-8080-4632-9CD9-4254BB05B59D}" destId="{9D7E2659-C824-448B-8A28-A66C6B2FD781}" srcOrd="3" destOrd="0" presId="urn:microsoft.com/office/officeart/2008/layout/HorizontalMultiLevelHierarchy"/>
    <dgm:cxn modelId="{A5EA4820-E170-4B3E-B9B5-AF9E4355747D}" type="presParOf" srcId="{9D7E2659-C824-448B-8A28-A66C6B2FD781}" destId="{227A6FDD-126B-4229-8CEA-654F546EBA16}" srcOrd="0" destOrd="0" presId="urn:microsoft.com/office/officeart/2008/layout/HorizontalMultiLevelHierarchy"/>
    <dgm:cxn modelId="{83090B86-A7D1-42B6-BEE2-36582C9D4FB8}" type="presParOf" srcId="{9D7E2659-C824-448B-8A28-A66C6B2FD781}" destId="{73366851-46C6-4C55-AD0D-0BAFC9EB37A3}" srcOrd="1" destOrd="0" presId="urn:microsoft.com/office/officeart/2008/layout/HorizontalMultiLevelHierarchy"/>
    <dgm:cxn modelId="{8DA5B999-E4FD-4AE6-896B-3641DC0F2B57}" type="presParOf" srcId="{5DDCD98F-57F6-409A-8E8C-058C527DACAF}" destId="{F6B7158F-7788-438C-9A7E-20807CCDAB02}" srcOrd="6" destOrd="0" presId="urn:microsoft.com/office/officeart/2008/layout/HorizontalMultiLevelHierarchy"/>
    <dgm:cxn modelId="{75EF9377-9A48-48EC-BDF1-FF45B57379A0}" type="presParOf" srcId="{F6B7158F-7788-438C-9A7E-20807CCDAB02}" destId="{C04CF883-4837-4A25-99AA-D2AA68C9A5C0}" srcOrd="0" destOrd="0" presId="urn:microsoft.com/office/officeart/2008/layout/HorizontalMultiLevelHierarchy"/>
    <dgm:cxn modelId="{C64CE425-140D-4353-A843-758CB5442E2A}" type="presParOf" srcId="{5DDCD98F-57F6-409A-8E8C-058C527DACAF}" destId="{38AC8B4E-02CE-4496-A0FC-83679775435D}" srcOrd="7" destOrd="0" presId="urn:microsoft.com/office/officeart/2008/layout/HorizontalMultiLevelHierarchy"/>
    <dgm:cxn modelId="{CB1DD3F8-1032-4068-AC0D-55129A48B682}" type="presParOf" srcId="{38AC8B4E-02CE-4496-A0FC-83679775435D}" destId="{75D99C70-C8ED-4C62-A117-65C3AA56DA81}" srcOrd="0" destOrd="0" presId="urn:microsoft.com/office/officeart/2008/layout/HorizontalMultiLevelHierarchy"/>
    <dgm:cxn modelId="{35F9FE44-0E97-4C6F-9C70-078FECA2969A}" type="presParOf" srcId="{38AC8B4E-02CE-4496-A0FC-83679775435D}" destId="{0D823FE0-4033-4D8F-85CD-7D5245B83A64}" srcOrd="1" destOrd="0" presId="urn:microsoft.com/office/officeart/2008/layout/HorizontalMultiLevelHierarchy"/>
    <dgm:cxn modelId="{FA428B03-A6DF-4496-8343-6982902A19AC}" type="presParOf" srcId="{0D823FE0-4033-4D8F-85CD-7D5245B83A64}" destId="{B39BCBFA-FC26-4641-80BB-35FD60BF06EE}" srcOrd="0" destOrd="0" presId="urn:microsoft.com/office/officeart/2008/layout/HorizontalMultiLevelHierarchy"/>
    <dgm:cxn modelId="{1568B605-C865-4970-8553-AD6BDC7106B8}" type="presParOf" srcId="{B39BCBFA-FC26-4641-80BB-35FD60BF06EE}" destId="{52415479-0767-4732-858F-E5D934E3EE33}" srcOrd="0" destOrd="0" presId="urn:microsoft.com/office/officeart/2008/layout/HorizontalMultiLevelHierarchy"/>
    <dgm:cxn modelId="{C4914F3B-905F-4735-8895-5D8E0903358C}" type="presParOf" srcId="{0D823FE0-4033-4D8F-85CD-7D5245B83A64}" destId="{5B114F23-3B8E-4001-A2FC-F98C7DEBE573}" srcOrd="1" destOrd="0" presId="urn:microsoft.com/office/officeart/2008/layout/HorizontalMultiLevelHierarchy"/>
    <dgm:cxn modelId="{00F486EC-B229-4F71-BDD3-8ADC4A60BB25}" type="presParOf" srcId="{5B114F23-3B8E-4001-A2FC-F98C7DEBE573}" destId="{4533385C-1A61-43A5-8864-3E89D90E6208}" srcOrd="0" destOrd="0" presId="urn:microsoft.com/office/officeart/2008/layout/HorizontalMultiLevelHierarchy"/>
    <dgm:cxn modelId="{560CD994-5A0B-4036-BE74-92C435229B95}" type="presParOf" srcId="{5B114F23-3B8E-4001-A2FC-F98C7DEBE573}" destId="{79DAE207-C325-4481-9FFA-E9B817382DF9}" srcOrd="1" destOrd="0" presId="urn:microsoft.com/office/officeart/2008/layout/HorizontalMultiLevelHierarchy"/>
    <dgm:cxn modelId="{C16C518B-EBDE-4A8B-9B5D-64A5086BDFE0}" type="presParOf" srcId="{79DAE207-C325-4481-9FFA-E9B817382DF9}" destId="{14F13E58-9C3F-4472-9AFD-C5242D34693D}" srcOrd="0" destOrd="0" presId="urn:microsoft.com/office/officeart/2008/layout/HorizontalMultiLevelHierarchy"/>
    <dgm:cxn modelId="{198E1CD8-4546-4B05-8ACA-E009D77F4BDA}" type="presParOf" srcId="{14F13E58-9C3F-4472-9AFD-C5242D34693D}" destId="{157DA45A-2B93-40C5-9B28-7A28C632F814}" srcOrd="0" destOrd="0" presId="urn:microsoft.com/office/officeart/2008/layout/HorizontalMultiLevelHierarchy"/>
    <dgm:cxn modelId="{F6599EF8-D75A-4890-B642-1F8A1EC6CD23}" type="presParOf" srcId="{79DAE207-C325-4481-9FFA-E9B817382DF9}" destId="{13F3F457-2982-47AD-9617-F2686BEE2786}" srcOrd="1" destOrd="0" presId="urn:microsoft.com/office/officeart/2008/layout/HorizontalMultiLevelHierarchy"/>
    <dgm:cxn modelId="{4D42D360-2557-4355-9121-0BF0D0BDB325}" type="presParOf" srcId="{13F3F457-2982-47AD-9617-F2686BEE2786}" destId="{8B680166-561C-43C2-8A78-49362A1DB696}" srcOrd="0" destOrd="0" presId="urn:microsoft.com/office/officeart/2008/layout/HorizontalMultiLevelHierarchy"/>
    <dgm:cxn modelId="{71A76511-1C63-476C-ADD1-583CCFEC3996}" type="presParOf" srcId="{13F3F457-2982-47AD-9617-F2686BEE2786}" destId="{55D78ACE-0A29-4BAC-815B-2488864C5343}" srcOrd="1" destOrd="0" presId="urn:microsoft.com/office/officeart/2008/layout/HorizontalMultiLevelHierarchy"/>
    <dgm:cxn modelId="{39F7553D-9CFC-4CE2-B5A3-222967972030}" type="presParOf" srcId="{5DDCD98F-57F6-409A-8E8C-058C527DACAF}" destId="{E80FA5E5-D8CE-4F5B-900D-AAEB5E92B152}" srcOrd="8" destOrd="0" presId="urn:microsoft.com/office/officeart/2008/layout/HorizontalMultiLevelHierarchy"/>
    <dgm:cxn modelId="{F2A4A279-0173-484F-A551-AC69D8037B5C}" type="presParOf" srcId="{E80FA5E5-D8CE-4F5B-900D-AAEB5E92B152}" destId="{3D448B8F-6657-4857-BEE7-8D1723BF6DE2}" srcOrd="0" destOrd="0" presId="urn:microsoft.com/office/officeart/2008/layout/HorizontalMultiLevelHierarchy"/>
    <dgm:cxn modelId="{5C9844B7-8F50-49DD-AD46-08FFC85B0DD2}" type="presParOf" srcId="{5DDCD98F-57F6-409A-8E8C-058C527DACAF}" destId="{E2582631-EFA9-40DA-87B0-ECE31E692018}" srcOrd="9" destOrd="0" presId="urn:microsoft.com/office/officeart/2008/layout/HorizontalMultiLevelHierarchy"/>
    <dgm:cxn modelId="{2FF32FC2-4906-4DD0-A4EE-DF0F6786612B}" type="presParOf" srcId="{E2582631-EFA9-40DA-87B0-ECE31E692018}" destId="{85757240-03CA-4F1E-8744-333CE197DCA8}" srcOrd="0" destOrd="0" presId="urn:microsoft.com/office/officeart/2008/layout/HorizontalMultiLevelHierarchy"/>
    <dgm:cxn modelId="{A7BD083E-2245-48A8-BF58-396EC6A16D4F}" type="presParOf" srcId="{E2582631-EFA9-40DA-87B0-ECE31E692018}" destId="{AA228D21-4238-4B89-8BD4-82DBFA064CAF}" srcOrd="1" destOrd="0" presId="urn:microsoft.com/office/officeart/2008/layout/HorizontalMultiLevelHierarchy"/>
    <dgm:cxn modelId="{402F2F2D-E4AB-40B8-AA4C-5DE228DBEBE5}" type="presParOf" srcId="{AA228D21-4238-4B89-8BD4-82DBFA064CAF}" destId="{DCE12CC6-C273-448F-A8A0-57DE834E059F}" srcOrd="0" destOrd="0" presId="urn:microsoft.com/office/officeart/2008/layout/HorizontalMultiLevelHierarchy"/>
    <dgm:cxn modelId="{6B696602-0281-48DE-8D33-77898141DEE0}" type="presParOf" srcId="{DCE12CC6-C273-448F-A8A0-57DE834E059F}" destId="{11F61879-D1C6-4CE6-A017-C473E96469E5}" srcOrd="0" destOrd="0" presId="urn:microsoft.com/office/officeart/2008/layout/HorizontalMultiLevelHierarchy"/>
    <dgm:cxn modelId="{C38551A8-6905-47CF-AA22-67BCB8213EB9}" type="presParOf" srcId="{AA228D21-4238-4B89-8BD4-82DBFA064CAF}" destId="{AAC643DF-2238-46E7-9B0E-CC63402E4B97}" srcOrd="1" destOrd="0" presId="urn:microsoft.com/office/officeart/2008/layout/HorizontalMultiLevelHierarchy"/>
    <dgm:cxn modelId="{FE7D84B8-17C8-4AC8-8C54-B1AA4F247955}" type="presParOf" srcId="{AAC643DF-2238-46E7-9B0E-CC63402E4B97}" destId="{A3991D5B-7F8D-4004-A423-4BD965D2D235}" srcOrd="0" destOrd="0" presId="urn:microsoft.com/office/officeart/2008/layout/HorizontalMultiLevelHierarchy"/>
    <dgm:cxn modelId="{7905E2EE-6893-474B-A38D-6B26510608B6}" type="presParOf" srcId="{AAC643DF-2238-46E7-9B0E-CC63402E4B97}" destId="{9F9E5495-5671-4495-B3A2-63D6272FC303}" srcOrd="1" destOrd="0" presId="urn:microsoft.com/office/officeart/2008/layout/HorizontalMultiLevelHierarchy"/>
    <dgm:cxn modelId="{80D6FB38-06DA-40BD-A244-DE6F0076893B}" type="presParOf" srcId="{9F9E5495-5671-4495-B3A2-63D6272FC303}" destId="{271F409F-356F-4F86-B895-E628C33C6F95}" srcOrd="0" destOrd="0" presId="urn:microsoft.com/office/officeart/2008/layout/HorizontalMultiLevelHierarchy"/>
    <dgm:cxn modelId="{B03FE22F-D796-4FB7-AD37-4ECB6CABD4EE}" type="presParOf" srcId="{271F409F-356F-4F86-B895-E628C33C6F95}" destId="{B809E223-2A59-4B2A-AEDB-EC141E5FD645}" srcOrd="0" destOrd="0" presId="urn:microsoft.com/office/officeart/2008/layout/HorizontalMultiLevelHierarchy"/>
    <dgm:cxn modelId="{FBD6A418-19F8-454D-841C-8D5332B4EEF6}" type="presParOf" srcId="{9F9E5495-5671-4495-B3A2-63D6272FC303}" destId="{F955EA7A-27BB-4600-B464-E7258CC36E30}" srcOrd="1" destOrd="0" presId="urn:microsoft.com/office/officeart/2008/layout/HorizontalMultiLevelHierarchy"/>
    <dgm:cxn modelId="{4DB16C8B-F80D-4519-A4F9-F6802741730D}" type="presParOf" srcId="{F955EA7A-27BB-4600-B464-E7258CC36E30}" destId="{3894F328-A493-447B-A74E-A3CAD567AC81}" srcOrd="0" destOrd="0" presId="urn:microsoft.com/office/officeart/2008/layout/HorizontalMultiLevelHierarchy"/>
    <dgm:cxn modelId="{68A2C513-4F91-4837-BF82-93BD8B3CEC3C}" type="presParOf" srcId="{F955EA7A-27BB-4600-B464-E7258CC36E30}" destId="{99B2FA6F-B620-4AA4-B090-84C55499F87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88443" cy="535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5769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31628" y="0"/>
            <a:ext cx="2990064" cy="535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09" tIns="46154" rIns="92309" bIns="46154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5770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09849"/>
            <a:ext cx="2988443" cy="535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09" tIns="46154" rIns="92309" bIns="46154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5770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31628" y="9409849"/>
            <a:ext cx="2990064" cy="5358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309" tIns="46154" rIns="92309" bIns="46154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Times New Roman" pitchFamily="18" charset="0"/>
              </a:defRPr>
            </a:lvl1pPr>
          </a:lstStyle>
          <a:p>
            <a:fld id="{F6EAA413-00E4-4E20-AD21-EF4840DC2307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16175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1148" cy="497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1" tIns="46081" rIns="92161" bIns="46081" numCol="1" anchor="t" anchorCtr="0" compatLnSpc="1">
            <a:prstTxWarp prst="textNoShape">
              <a:avLst/>
            </a:prstTxWarp>
          </a:bodyPr>
          <a:lstStyle>
            <a:lvl1pPr algn="l" defTabSz="921485" eaLnBrk="0" hangingPunct="0">
              <a:defRPr sz="1200"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60815" y="0"/>
            <a:ext cx="2951148" cy="497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1" tIns="46081" rIns="92161" bIns="46081" numCol="1" anchor="t" anchorCtr="0" compatLnSpc="1">
            <a:prstTxWarp prst="textNoShape">
              <a:avLst/>
            </a:prstTxWarp>
          </a:bodyPr>
          <a:lstStyle>
            <a:lvl1pPr algn="r" defTabSz="921485" eaLnBrk="0" hangingPunct="0">
              <a:defRPr sz="1200"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25450" y="746125"/>
            <a:ext cx="5965825" cy="37290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46" y="4722416"/>
            <a:ext cx="4995872" cy="4474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1" tIns="46081" rIns="92161" bIns="4608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4830"/>
            <a:ext cx="2951148" cy="497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1" tIns="46081" rIns="92161" bIns="46081" numCol="1" anchor="b" anchorCtr="0" compatLnSpc="1">
            <a:prstTxWarp prst="textNoShape">
              <a:avLst/>
            </a:prstTxWarp>
          </a:bodyPr>
          <a:lstStyle>
            <a:lvl1pPr algn="l" defTabSz="921485" eaLnBrk="0" hangingPunct="0">
              <a:defRPr sz="1200"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60815" y="9444830"/>
            <a:ext cx="2951148" cy="4976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161" tIns="46081" rIns="92161" bIns="46081" numCol="1" anchor="b" anchorCtr="0" compatLnSpc="1">
            <a:prstTxWarp prst="textNoShape">
              <a:avLst/>
            </a:prstTxWarp>
          </a:bodyPr>
          <a:lstStyle>
            <a:lvl1pPr algn="r" defTabSz="921485" eaLnBrk="0" hangingPunct="0">
              <a:defRPr sz="1200">
                <a:latin typeface="Times New Roman" pitchFamily="18" charset="0"/>
              </a:defRPr>
            </a:lvl1pPr>
          </a:lstStyle>
          <a:p>
            <a:fld id="{DB193B1F-CDA0-49BC-95EF-3243195FBA90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478230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448E7B1-3C9E-4380-A646-B098F98120ED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 smtClean="0">
              <a:solidFill>
                <a:prstClr val="black"/>
              </a:solidFill>
            </a:endParaRPr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25450" y="746125"/>
            <a:ext cx="5965825" cy="3729038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de-DE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370EA49-4C9C-4D86-A044-4B6FD484481B}" type="slidenum">
              <a:rPr lang="en-US" smtClean="0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US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25450" y="746125"/>
            <a:ext cx="5961063" cy="3725863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 txBox="1">
            <a:spLocks noGrp="1" noChangeArrowheads="1"/>
          </p:cNvSpPr>
          <p:nvPr/>
        </p:nvSpPr>
        <p:spPr bwMode="auto">
          <a:xfrm>
            <a:off x="3858537" y="9443661"/>
            <a:ext cx="2951850" cy="497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309" tIns="46154" rIns="92309" bIns="46154" anchor="b"/>
          <a:lstStyle/>
          <a:p>
            <a:pPr algn="r"/>
            <a:fld id="{C3041388-9345-4D10-A5B5-CF3AF13D531A}" type="slidenum">
              <a:rPr lang="en-US" sz="1200">
                <a:solidFill>
                  <a:srgbClr val="000000"/>
                </a:solidFill>
                <a:latin typeface="Calibri" pitchFamily="34" charset="0"/>
              </a:rPr>
              <a:pPr algn="r"/>
              <a:t>8</a:t>
            </a:fld>
            <a:endParaRPr lang="en-US" sz="12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61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01663" y="874713"/>
            <a:ext cx="5689600" cy="355600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7723" y="4430980"/>
            <a:ext cx="4995440" cy="4196223"/>
          </a:xfrm>
          <a:noFill/>
        </p:spPr>
        <p:txBody>
          <a:bodyPr wrap="square" lIns="92130" tIns="46067" rIns="92130" bIns="46067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AT" b="1" dirty="0" smtClean="0"/>
              <a:t> </a:t>
            </a:r>
          </a:p>
          <a:p>
            <a:pPr eaLnBrk="1" hangingPunct="1"/>
            <a:r>
              <a:rPr lang="de-AT" b="1" dirty="0" smtClean="0"/>
              <a:t>SESAR </a:t>
            </a:r>
          </a:p>
          <a:p>
            <a:pPr eaLnBrk="1" hangingPunct="1"/>
            <a:endParaRPr lang="en-GB" dirty="0" smtClean="0"/>
          </a:p>
          <a:p>
            <a:pPr eaLnBrk="1" hangingPunct="1"/>
            <a:r>
              <a:rPr lang="de-AT" dirty="0" smtClean="0"/>
              <a:t>Eine große Auszeichnung und auch inhaltlich von strategisch hoher Bedeutung ist die offizielle Einladung an </a:t>
            </a:r>
            <a:r>
              <a:rPr lang="de-AT" dirty="0" err="1" smtClean="0"/>
              <a:t>Frequentis</a:t>
            </a:r>
            <a:r>
              <a:rPr lang="de-AT" dirty="0" smtClean="0"/>
              <a:t>, im EU-Zukunftsprojekt SESAR („Single European Sky ATM Research Programme") mitzuarbeiten. Der "</a:t>
            </a:r>
            <a:r>
              <a:rPr lang="de-AT" dirty="0" err="1" smtClean="0"/>
              <a:t>Call</a:t>
            </a:r>
            <a:r>
              <a:rPr lang="de-AT" dirty="0" smtClean="0"/>
              <a:t> </a:t>
            </a:r>
            <a:r>
              <a:rPr lang="de-AT" dirty="0" err="1" smtClean="0"/>
              <a:t>for</a:t>
            </a:r>
            <a:r>
              <a:rPr lang="de-AT" dirty="0" smtClean="0"/>
              <a:t> </a:t>
            </a:r>
            <a:r>
              <a:rPr lang="de-AT" dirty="0" err="1" smtClean="0"/>
              <a:t>expressions</a:t>
            </a:r>
            <a:r>
              <a:rPr lang="de-AT" dirty="0" smtClean="0"/>
              <a:t> of </a:t>
            </a:r>
            <a:r>
              <a:rPr lang="de-AT" dirty="0" err="1" smtClean="0"/>
              <a:t>interest</a:t>
            </a:r>
            <a:r>
              <a:rPr lang="de-AT" dirty="0" smtClean="0"/>
              <a:t> to </a:t>
            </a:r>
            <a:r>
              <a:rPr lang="de-AT" dirty="0" err="1" smtClean="0"/>
              <a:t>become</a:t>
            </a:r>
            <a:r>
              <a:rPr lang="de-AT" dirty="0" smtClean="0"/>
              <a:t> </a:t>
            </a:r>
            <a:r>
              <a:rPr lang="de-AT" dirty="0" err="1" smtClean="0"/>
              <a:t>members</a:t>
            </a:r>
            <a:r>
              <a:rPr lang="de-AT" dirty="0" smtClean="0"/>
              <a:t> of </a:t>
            </a:r>
            <a:r>
              <a:rPr lang="de-AT" dirty="0" err="1" smtClean="0"/>
              <a:t>the</a:t>
            </a:r>
            <a:r>
              <a:rPr lang="de-AT" dirty="0" smtClean="0"/>
              <a:t> SESAR Joint </a:t>
            </a:r>
            <a:r>
              <a:rPr lang="de-AT" dirty="0" err="1" smtClean="0"/>
              <a:t>Undertaking</a:t>
            </a:r>
            <a:r>
              <a:rPr lang="de-AT" dirty="0" smtClean="0"/>
              <a:t>” erreichte </a:t>
            </a:r>
            <a:r>
              <a:rPr lang="de-AT" dirty="0" err="1" smtClean="0"/>
              <a:t>Frequentis</a:t>
            </a:r>
            <a:r>
              <a:rPr lang="de-AT" dirty="0" smtClean="0"/>
              <a:t> im Oktober 2007, aktuell wird an der Konkretisierung der Vorhaben gearbeitet. Schwerpunktmäßig wird sich </a:t>
            </a:r>
            <a:r>
              <a:rPr lang="de-AT" dirty="0" err="1" smtClean="0"/>
              <a:t>Frequentis</a:t>
            </a:r>
            <a:r>
              <a:rPr lang="de-AT" dirty="0" smtClean="0"/>
              <a:t> hier mit seinen Tower-Lösungen und seiner Expertise im SWIM(System </a:t>
            </a:r>
            <a:r>
              <a:rPr lang="de-AT" dirty="0" err="1" smtClean="0"/>
              <a:t>Wide</a:t>
            </a:r>
            <a:r>
              <a:rPr lang="de-AT" dirty="0" smtClean="0"/>
              <a:t> Information Management)-Bereich einbringen – das zeigt auch die hohe Anerkennung von Seiten der ATM </a:t>
            </a:r>
            <a:r>
              <a:rPr lang="de-AT" dirty="0" err="1" smtClean="0"/>
              <a:t>Community</a:t>
            </a:r>
            <a:r>
              <a:rPr lang="de-AT" dirty="0" smtClean="0"/>
              <a:t> für die Innovationskraft von </a:t>
            </a:r>
            <a:r>
              <a:rPr lang="de-AT" dirty="0" err="1" smtClean="0"/>
              <a:t>Frequentis</a:t>
            </a:r>
            <a:r>
              <a:rPr lang="de-AT" dirty="0" smtClean="0"/>
              <a:t>.</a:t>
            </a:r>
            <a:endParaRPr lang="en-GB" dirty="0" smtClean="0"/>
          </a:p>
          <a:p>
            <a:pPr eaLnBrk="1" hangingPunct="1"/>
            <a:r>
              <a:rPr lang="de-AT" dirty="0" smtClean="0"/>
              <a:t> </a:t>
            </a:r>
            <a:endParaRPr lang="en-GB" dirty="0" smtClean="0"/>
          </a:p>
          <a:p>
            <a:pPr eaLnBrk="1" hangingPunct="1">
              <a:spcBef>
                <a:spcPct val="0"/>
              </a:spcBef>
            </a:pPr>
            <a:endParaRPr lang="de-AT" dirty="0" smtClean="0"/>
          </a:p>
          <a:p>
            <a:pPr eaLnBrk="1" hangingPunct="1">
              <a:spcBef>
                <a:spcPct val="0"/>
              </a:spcBef>
            </a:pPr>
            <a:r>
              <a:rPr lang="de-AT" b="1" dirty="0" smtClean="0"/>
              <a:t>Project &amp; Programm Management - UCMP</a:t>
            </a:r>
          </a:p>
          <a:p>
            <a:pPr eaLnBrk="1" hangingPunct="1">
              <a:spcBef>
                <a:spcPct val="0"/>
              </a:spcBef>
            </a:pPr>
            <a:endParaRPr lang="de-AT" b="1" dirty="0" smtClean="0"/>
          </a:p>
          <a:p>
            <a:pPr eaLnBrk="1" hangingPunct="1">
              <a:spcBef>
                <a:spcPct val="0"/>
              </a:spcBef>
            </a:pPr>
            <a:r>
              <a:rPr lang="de-AT" dirty="0" smtClean="0"/>
              <a:t>UCMP ist die Abkürzung für UKADGE </a:t>
            </a:r>
            <a:r>
              <a:rPr lang="de-AT" dirty="0" err="1" smtClean="0"/>
              <a:t>Capability</a:t>
            </a:r>
            <a:r>
              <a:rPr lang="de-AT" dirty="0" smtClean="0"/>
              <a:t> </a:t>
            </a:r>
            <a:r>
              <a:rPr lang="de-AT" dirty="0" err="1" smtClean="0"/>
              <a:t>Maintenance</a:t>
            </a:r>
            <a:r>
              <a:rPr lang="de-AT" dirty="0" smtClean="0"/>
              <a:t> </a:t>
            </a:r>
            <a:r>
              <a:rPr lang="de-AT" dirty="0" err="1" smtClean="0"/>
              <a:t>Program</a:t>
            </a:r>
            <a:r>
              <a:rPr lang="de-AT" dirty="0" smtClean="0"/>
              <a:t> und bezeichnet eine komplexe </a:t>
            </a:r>
            <a:r>
              <a:rPr lang="de-AT" dirty="0" err="1" smtClean="0"/>
              <a:t>state-of-the-art</a:t>
            </a:r>
            <a:r>
              <a:rPr lang="de-AT" dirty="0" smtClean="0"/>
              <a:t> Kommunikationslösung für das Luftverteidigungssystem Großbritanniens. Es umfasst die Einrichtung von zwei </a:t>
            </a:r>
            <a:r>
              <a:rPr lang="de-AT" dirty="0" err="1" smtClean="0"/>
              <a:t>Control</a:t>
            </a:r>
            <a:r>
              <a:rPr lang="de-AT" dirty="0" smtClean="0"/>
              <a:t> and Reporting </a:t>
            </a:r>
            <a:r>
              <a:rPr lang="de-AT" dirty="0" err="1" smtClean="0"/>
              <a:t>centers</a:t>
            </a:r>
            <a:r>
              <a:rPr lang="de-AT" dirty="0" smtClean="0"/>
              <a:t> (</a:t>
            </a:r>
            <a:r>
              <a:rPr lang="de-AT" dirty="0" err="1" smtClean="0"/>
              <a:t>CRCs</a:t>
            </a:r>
            <a:r>
              <a:rPr lang="de-AT" dirty="0" smtClean="0"/>
              <a:t>), einem </a:t>
            </a:r>
            <a:r>
              <a:rPr lang="de-AT" dirty="0" err="1" smtClean="0"/>
              <a:t>Combined</a:t>
            </a:r>
            <a:r>
              <a:rPr lang="de-AT" dirty="0" smtClean="0"/>
              <a:t> Air </a:t>
            </a:r>
            <a:r>
              <a:rPr lang="de-AT" dirty="0" err="1" smtClean="0"/>
              <a:t>Operations</a:t>
            </a:r>
            <a:r>
              <a:rPr lang="de-AT" dirty="0" smtClean="0"/>
              <a:t> </a:t>
            </a:r>
            <a:r>
              <a:rPr lang="de-AT" dirty="0" err="1" smtClean="0"/>
              <a:t>center</a:t>
            </a:r>
            <a:r>
              <a:rPr lang="de-AT" dirty="0" smtClean="0"/>
              <a:t> (CAOC) und mehrerer </a:t>
            </a:r>
            <a:r>
              <a:rPr lang="de-AT" dirty="0" err="1" smtClean="0"/>
              <a:t>Remote</a:t>
            </a:r>
            <a:r>
              <a:rPr lang="de-AT" dirty="0" smtClean="0"/>
              <a:t> Radio Sites (</a:t>
            </a:r>
            <a:r>
              <a:rPr lang="de-AT" dirty="0" err="1" smtClean="0"/>
              <a:t>RRSs</a:t>
            </a:r>
            <a:r>
              <a:rPr lang="de-AT" dirty="0" smtClean="0"/>
              <a:t>). Sämtliche Systeme sind über ein von der British Telecom betriebenes </a:t>
            </a:r>
            <a:r>
              <a:rPr lang="de-AT" dirty="0" err="1" smtClean="0"/>
              <a:t>Wide</a:t>
            </a:r>
            <a:r>
              <a:rPr lang="de-AT" dirty="0" smtClean="0"/>
              <a:t> </a:t>
            </a:r>
            <a:r>
              <a:rPr lang="de-AT" dirty="0" err="1" smtClean="0"/>
              <a:t>Area</a:t>
            </a:r>
            <a:r>
              <a:rPr lang="de-AT" dirty="0" smtClean="0"/>
              <a:t> Netzwerk auf der Basis von 2 </a:t>
            </a:r>
            <a:r>
              <a:rPr lang="de-AT" dirty="0" err="1" smtClean="0"/>
              <a:t>Mbit/s</a:t>
            </a:r>
            <a:r>
              <a:rPr lang="de-AT" dirty="0" smtClean="0"/>
              <a:t> Leitungen verbunden.</a:t>
            </a:r>
          </a:p>
          <a:p>
            <a:pPr eaLnBrk="1" hangingPunct="1">
              <a:spcBef>
                <a:spcPct val="0"/>
              </a:spcBef>
            </a:pPr>
            <a:r>
              <a:rPr lang="de-AT" dirty="0" smtClean="0"/>
              <a:t>Gemeinsam mit Prime IBM UK wurde </a:t>
            </a:r>
            <a:r>
              <a:rPr lang="de-AT" dirty="0" err="1" smtClean="0"/>
              <a:t>Frequentis</a:t>
            </a:r>
            <a:r>
              <a:rPr lang="de-AT" dirty="0" smtClean="0"/>
              <a:t> mit dem </a:t>
            </a:r>
            <a:r>
              <a:rPr lang="de-AT" dirty="0" err="1" smtClean="0"/>
              <a:t>MCA-Award</a:t>
            </a:r>
            <a:r>
              <a:rPr lang="de-AT" dirty="0" smtClean="0"/>
              <a:t> für seine tolle Projektmanagement-Leistung im Rahmen des </a:t>
            </a:r>
            <a:r>
              <a:rPr lang="de-AT" dirty="0" err="1" smtClean="0"/>
              <a:t>UCMP-Projektes</a:t>
            </a:r>
            <a:r>
              <a:rPr lang="de-AT" dirty="0" smtClean="0"/>
              <a:t> ausgezeichnet. Die MCA ("Management </a:t>
            </a:r>
            <a:r>
              <a:rPr lang="de-AT" dirty="0" err="1" smtClean="0"/>
              <a:t>Consultancies</a:t>
            </a:r>
            <a:r>
              <a:rPr lang="de-AT" dirty="0" smtClean="0"/>
              <a:t> Association") ist eine bereits 1956 gegründete, hoch renommierte Vereinigung britischer </a:t>
            </a:r>
            <a:r>
              <a:rPr lang="de-AT" dirty="0" err="1" smtClean="0"/>
              <a:t>Consulting-Unternehmen</a:t>
            </a:r>
            <a:r>
              <a:rPr lang="de-AT" dirty="0" smtClean="0"/>
              <a:t>. Die hoch angesehen MCA Management </a:t>
            </a:r>
            <a:r>
              <a:rPr lang="de-AT" dirty="0" err="1" smtClean="0"/>
              <a:t>Awards</a:t>
            </a:r>
            <a:r>
              <a:rPr lang="de-AT" dirty="0" smtClean="0"/>
              <a:t> zeichnen Leistungen bzw. Arbeiten mit ausgezeichneter Projektperformance aus - wesentlicher weitere Imagegewinn für </a:t>
            </a:r>
            <a:r>
              <a:rPr lang="de-AT" dirty="0" err="1" smtClean="0"/>
              <a:t>Frequentis</a:t>
            </a:r>
            <a:r>
              <a:rPr lang="de-AT" dirty="0" smtClean="0"/>
              <a:t>.</a:t>
            </a:r>
          </a:p>
          <a:p>
            <a:pPr eaLnBrk="1" hangingPunct="1">
              <a:spcBef>
                <a:spcPct val="0"/>
              </a:spcBef>
            </a:pPr>
            <a:endParaRPr lang="de-AT" dirty="0" smtClean="0"/>
          </a:p>
          <a:p>
            <a:pPr eaLnBrk="1" hangingPunct="1"/>
            <a:r>
              <a:rPr lang="de-AT" b="1" dirty="0" smtClean="0"/>
              <a:t>Zu FAA / </a:t>
            </a:r>
            <a:r>
              <a:rPr lang="de-AT" b="1" dirty="0" err="1" smtClean="0"/>
              <a:t>Herndon</a:t>
            </a:r>
            <a:r>
              <a:rPr lang="de-AT" dirty="0" smtClean="0"/>
              <a:t>:</a:t>
            </a:r>
            <a:endParaRPr lang="en-GB" dirty="0" smtClean="0"/>
          </a:p>
          <a:p>
            <a:pPr eaLnBrk="1" hangingPunct="1"/>
            <a:r>
              <a:rPr lang="de-AT" dirty="0" smtClean="0"/>
              <a:t> </a:t>
            </a:r>
            <a:endParaRPr lang="en-GB" dirty="0" smtClean="0"/>
          </a:p>
          <a:p>
            <a:pPr eaLnBrk="1" hangingPunct="1"/>
            <a:r>
              <a:rPr lang="de-AT" dirty="0" smtClean="0"/>
              <a:t>Eine </a:t>
            </a:r>
            <a:r>
              <a:rPr lang="de-AT" dirty="0" err="1" smtClean="0"/>
              <a:t>Usability</a:t>
            </a:r>
            <a:r>
              <a:rPr lang="de-AT" dirty="0" smtClean="0"/>
              <a:t> Design Studie war der Türöffner zum ersten Auftrag der amerikanischen Flugsicherungsbehörde FAA für das Air </a:t>
            </a:r>
            <a:r>
              <a:rPr lang="de-AT" dirty="0" err="1" smtClean="0"/>
              <a:t>Traffic</a:t>
            </a:r>
            <a:r>
              <a:rPr lang="de-AT" dirty="0" smtClean="0"/>
              <a:t> </a:t>
            </a:r>
            <a:r>
              <a:rPr lang="de-AT" dirty="0" err="1" smtClean="0"/>
              <a:t>Control</a:t>
            </a:r>
            <a:r>
              <a:rPr lang="de-AT" dirty="0" smtClean="0"/>
              <a:t> </a:t>
            </a:r>
            <a:r>
              <a:rPr lang="de-AT" dirty="0" err="1" smtClean="0"/>
              <a:t>Command</a:t>
            </a:r>
            <a:r>
              <a:rPr lang="de-AT" dirty="0" smtClean="0"/>
              <a:t> Center in </a:t>
            </a:r>
            <a:r>
              <a:rPr lang="de-AT" dirty="0" err="1" smtClean="0"/>
              <a:t>Herndon</a:t>
            </a:r>
            <a:r>
              <a:rPr lang="de-AT" dirty="0" smtClean="0"/>
              <a:t>, Virginia. In mehreren Workshops und Präsentationen überzeugte das UIC-Team den Kunden, so dass </a:t>
            </a:r>
            <a:r>
              <a:rPr lang="de-AT" dirty="0" err="1" smtClean="0"/>
              <a:t>Frequentis</a:t>
            </a:r>
            <a:r>
              <a:rPr lang="de-AT" dirty="0" smtClean="0"/>
              <a:t> nicht nur den Auftrag für das Center in Virginia erhielt (Auftragseingang 2003), sondern dass auch der verantwortliche </a:t>
            </a:r>
            <a:r>
              <a:rPr lang="de-AT" dirty="0" err="1" smtClean="0"/>
              <a:t>Frequentis-Mitarbeiter</a:t>
            </a:r>
            <a:r>
              <a:rPr lang="de-AT" dirty="0" smtClean="0"/>
              <a:t> direkt von der FAA ausgezeichnet wurde, und zwar mit einem „FAA </a:t>
            </a:r>
            <a:r>
              <a:rPr lang="de-AT" dirty="0" err="1" smtClean="0"/>
              <a:t>acknowledgment</a:t>
            </a:r>
            <a:r>
              <a:rPr lang="de-AT" dirty="0" smtClean="0"/>
              <a:t> </a:t>
            </a:r>
            <a:r>
              <a:rPr lang="de-AT" dirty="0" err="1" smtClean="0"/>
              <a:t>award</a:t>
            </a:r>
            <a:r>
              <a:rPr lang="de-AT" dirty="0" smtClean="0"/>
              <a:t>“ für sein für die FAA entwickeltes User Interface Design. Der Auftrag für das ATCSCC stellt gleichzeitig auch den Durchbruch von </a:t>
            </a:r>
            <a:r>
              <a:rPr lang="de-AT" dirty="0" err="1" smtClean="0"/>
              <a:t>Frequentis</a:t>
            </a:r>
            <a:r>
              <a:rPr lang="de-AT" dirty="0" smtClean="0"/>
              <a:t> in den USA dar.</a:t>
            </a:r>
            <a:endParaRPr lang="en-GB" dirty="0" smtClean="0"/>
          </a:p>
          <a:p>
            <a:pPr eaLnBrk="1" hangingPunct="1">
              <a:spcBef>
                <a:spcPct val="0"/>
              </a:spcBef>
            </a:pPr>
            <a:endParaRPr lang="de-AT" dirty="0" smtClean="0"/>
          </a:p>
          <a:p>
            <a:pPr eaLnBrk="1" hangingPunct="1">
              <a:spcBef>
                <a:spcPct val="0"/>
              </a:spcBef>
            </a:pPr>
            <a:endParaRPr lang="de-AT" dirty="0" smtClean="0"/>
          </a:p>
          <a:p>
            <a:pPr eaLnBrk="1" hangingPunct="1">
              <a:spcBef>
                <a:spcPct val="0"/>
              </a:spcBef>
            </a:pPr>
            <a:endParaRPr lang="de-AT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872CF77-5589-4D73-B599-1D56D6A990E1}" type="slidenum">
              <a:rPr 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/>
          </a:p>
        </p:txBody>
      </p:sp>
      <p:sp>
        <p:nvSpPr>
          <p:cNvPr id="40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25450" y="746125"/>
            <a:ext cx="5965825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de-DE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E169C5F-E275-4C4B-B9B7-688B2AD3F8AB}" type="slidenum">
              <a:rPr lang="en-US" smtClean="0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smtClea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1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422275" y="744538"/>
            <a:ext cx="5970588" cy="37306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9841" y="4720970"/>
            <a:ext cx="4992286" cy="4477583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B193B1F-CDA0-49BC-95EF-3243195FBA90}" type="slidenum">
              <a:rPr lang="en-GB" smtClean="0"/>
              <a:pPr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47935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3.emf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142951"/>
              </p:ext>
            </p:extLst>
          </p:nvPr>
        </p:nvGraphicFramePr>
        <p:xfrm>
          <a:off x="0" y="2"/>
          <a:ext cx="158750" cy="1322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58750" cy="13229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9444" name="Rectangle 20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971600" y="3517575"/>
            <a:ext cx="7272808" cy="549010"/>
          </a:xfrm>
          <a:ln w="12700"/>
        </p:spPr>
        <p:txBody>
          <a:bodyPr lIns="0" tIns="0" rIns="0" bIns="0"/>
          <a:lstStyle>
            <a:lvl1pPr>
              <a:defRPr sz="2600" cap="all" baseline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59449" name="Rectangle 25"/>
          <p:cNvSpPr>
            <a:spLocks noGrp="1" noChangeArrowheads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971550" y="5152268"/>
            <a:ext cx="1152178" cy="360661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>
              <a:spcBef>
                <a:spcPct val="0"/>
              </a:spcBef>
              <a:spcAft>
                <a:spcPct val="5000"/>
              </a:spcAft>
              <a:buFont typeface="Wingdings" pitchFamily="2" charset="2"/>
              <a:buNone/>
              <a:defRPr sz="1600" b="0">
                <a:solidFill>
                  <a:srgbClr val="AEB0B2"/>
                </a:solidFill>
              </a:defRPr>
            </a:lvl1pPr>
          </a:lstStyle>
          <a:p>
            <a:r>
              <a:rPr lang="en-US" dirty="0" smtClean="0"/>
              <a:t>Edit Date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>
            <p:custDataLst>
              <p:tags r:id="rId5"/>
            </p:custDataLst>
          </p:nvPr>
        </p:nvCxnSpPr>
        <p:spPr bwMode="auto">
          <a:xfrm>
            <a:off x="2339752" y="5197762"/>
            <a:ext cx="0" cy="239428"/>
          </a:xfrm>
          <a:prstGeom prst="line">
            <a:avLst/>
          </a:prstGeom>
          <a:solidFill>
            <a:schemeClr val="bg1"/>
          </a:solidFill>
          <a:ln w="19050" cap="flat" cmpd="sng" algn="ctr">
            <a:solidFill>
              <a:srgbClr val="AEB0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 Placeholder 13"/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2699792" y="5151000"/>
            <a:ext cx="2807890" cy="3600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buNone/>
              <a:defRPr sz="1600">
                <a:solidFill>
                  <a:srgbClr val="AEB0B2"/>
                </a:solidFill>
              </a:defRPr>
            </a:lvl1pPr>
          </a:lstStyle>
          <a:p>
            <a:pPr lvl="0"/>
            <a:r>
              <a:rPr lang="en-US" dirty="0" smtClean="0"/>
              <a:t>Click to edit Nam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971674" y="4057386"/>
            <a:ext cx="5328518" cy="359833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buNone/>
              <a:defRPr>
                <a:solidFill>
                  <a:srgbClr val="AEB0B2"/>
                </a:solidFill>
              </a:defRPr>
            </a:lvl1pPr>
          </a:lstStyle>
          <a:p>
            <a:pPr lvl="0"/>
            <a:r>
              <a:rPr lang="en-US" dirty="0" smtClean="0"/>
              <a:t>Click to edit Master subtitle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3500107"/>
          </a:xfrm>
          <a:prstGeom prst="rect">
            <a:avLst/>
          </a:prstGeom>
        </p:spPr>
      </p:pic>
      <p:pic>
        <p:nvPicPr>
          <p:cNvPr id="15" name="Picture 19" descr="frequentis-logo.bmp                                            00000013OS9                            BD64DCCF:"/>
          <p:cNvPicPr>
            <a:picLocks noChangeAspect="1" noChangeArrowheads="1"/>
          </p:cNvPicPr>
          <p:nvPr userDrawn="1">
            <p:custDataLst>
              <p:tags r:id="rId8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732240" y="5089748"/>
            <a:ext cx="2158419" cy="455018"/>
          </a:xfrm>
          <a:prstGeom prst="rect">
            <a:avLst/>
          </a:prstGeom>
          <a:noFill/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660343" y="265212"/>
            <a:ext cx="1088121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5838" y="937948"/>
            <a:ext cx="3941762" cy="4189677"/>
          </a:xfrm>
          <a:prstGeom prst="rect">
            <a:avLst/>
          </a:prstGeom>
        </p:spPr>
        <p:txBody>
          <a:bodyPr/>
          <a:lstStyle>
            <a:lvl1pPr>
              <a:buClr>
                <a:schemeClr val="tx1">
                  <a:lumMod val="50000"/>
                  <a:lumOff val="50000"/>
                </a:schemeClr>
              </a:buClr>
              <a:defRPr sz="2000"/>
            </a:lvl1pPr>
            <a:lvl2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-"/>
              <a:defRPr sz="1400"/>
            </a:lvl3pPr>
            <a:lvl4pPr marL="1616075" indent="-2286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-"/>
              <a:defRPr sz="1400"/>
            </a:lvl4pPr>
            <a:lvl5pPr marL="1616075" indent="-2286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-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0" y="937948"/>
            <a:ext cx="3943350" cy="4189677"/>
          </a:xfrm>
          <a:prstGeom prst="rect">
            <a:avLst/>
          </a:prstGeom>
        </p:spPr>
        <p:txBody>
          <a:bodyPr/>
          <a:lstStyle>
            <a:lvl1pPr>
              <a:buClr>
                <a:schemeClr val="tx1">
                  <a:lumMod val="50000"/>
                  <a:lumOff val="50000"/>
                </a:schemeClr>
              </a:buClr>
              <a:defRPr sz="2000"/>
            </a:lvl1pPr>
            <a:lvl2pPr>
              <a:buClr>
                <a:schemeClr val="tx1">
                  <a:lumMod val="50000"/>
                  <a:lumOff val="50000"/>
                </a:schemeClr>
              </a:buClr>
              <a:defRPr sz="1600"/>
            </a:lvl2pPr>
            <a:lvl3pPr marL="1344613" indent="-263525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-"/>
              <a:defRPr sz="1400"/>
            </a:lvl3pPr>
            <a:lvl4pPr marL="1703388" indent="-268288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-"/>
              <a:defRPr sz="1400"/>
            </a:lvl4pPr>
            <a:lvl5pPr marL="1727200" indent="-292100">
              <a:spcBef>
                <a:spcPts val="0"/>
              </a:spcBef>
              <a:spcAft>
                <a:spcPts val="600"/>
              </a:spcAft>
              <a:buClr>
                <a:schemeClr val="tx1">
                  <a:lumMod val="50000"/>
                  <a:lumOff val="50000"/>
                </a:schemeClr>
              </a:buClr>
              <a:buFont typeface="Arial" pitchFamily="34" charset="0"/>
              <a:buChar char="-"/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el 1"/>
          <p:cNvSpPr>
            <a:spLocks noGrp="1"/>
          </p:cNvSpPr>
          <p:nvPr>
            <p:ph type="title"/>
          </p:nvPr>
        </p:nvSpPr>
        <p:spPr>
          <a:xfrm>
            <a:off x="316518" y="59512"/>
            <a:ext cx="8286808" cy="952507"/>
          </a:xfrm>
          <a:prstGeom prst="rect">
            <a:avLst/>
          </a:prstGeom>
        </p:spPr>
        <p:txBody>
          <a:bodyPr anchor="ctr"/>
          <a:lstStyle>
            <a:lvl1pPr>
              <a:defRPr sz="3600" b="1">
                <a:solidFill>
                  <a:schemeClr val="tx1"/>
                </a:solidFill>
                <a:latin typeface="Calibri" pitchFamily="34" charset="0"/>
              </a:defRPr>
            </a:lvl1pPr>
          </a:lstStyle>
          <a:p>
            <a:r>
              <a:rPr lang="en-US" noProof="0" dirty="0" err="1" smtClean="0"/>
              <a:t>Titelmasterformat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/>
          </a:p>
        </p:txBody>
      </p:sp>
      <p:sp>
        <p:nvSpPr>
          <p:cNvPr id="7" name="Inhaltsplatzhalter 2"/>
          <p:cNvSpPr>
            <a:spLocks noGrp="1"/>
          </p:cNvSpPr>
          <p:nvPr>
            <p:ph sz="half" idx="17"/>
          </p:nvPr>
        </p:nvSpPr>
        <p:spPr>
          <a:xfrm>
            <a:off x="316518" y="1131082"/>
            <a:ext cx="8286808" cy="3988622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buFont typeface="Wingdings" pitchFamily="2" charset="2"/>
              <a:buChar char="§"/>
              <a:defRPr sz="2400">
                <a:latin typeface="Calibri" pitchFamily="34" charset="0"/>
              </a:defRPr>
            </a:lvl1pPr>
            <a:lvl2pPr>
              <a:spcBef>
                <a:spcPts val="600"/>
              </a:spcBef>
              <a:spcAft>
                <a:spcPts val="600"/>
              </a:spcAft>
              <a:defRPr sz="2000">
                <a:latin typeface="Calibri" pitchFamily="34" charset="0"/>
              </a:defRPr>
            </a:lvl2pPr>
            <a:lvl3pPr>
              <a:spcBef>
                <a:spcPts val="600"/>
              </a:spcBef>
              <a:spcAft>
                <a:spcPts val="600"/>
              </a:spcAft>
              <a:defRPr sz="2000">
                <a:latin typeface="Calibri" pitchFamily="34" charset="0"/>
              </a:defRPr>
            </a:lvl3pPr>
            <a:lvl4pPr>
              <a:spcBef>
                <a:spcPts val="600"/>
              </a:spcBef>
              <a:spcAft>
                <a:spcPts val="600"/>
              </a:spcAft>
              <a:defRPr sz="1800">
                <a:latin typeface="Calibri" pitchFamily="34" charset="0"/>
              </a:defRPr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dirty="0" err="1" smtClean="0"/>
              <a:t>Textmasterformate</a:t>
            </a:r>
            <a:r>
              <a:rPr lang="en-US" noProof="0" dirty="0" smtClean="0"/>
              <a:t> </a:t>
            </a:r>
            <a:r>
              <a:rPr lang="en-US" noProof="0" dirty="0" err="1" smtClean="0"/>
              <a:t>durch</a:t>
            </a:r>
            <a:r>
              <a:rPr lang="en-US" noProof="0" dirty="0" smtClean="0"/>
              <a:t> </a:t>
            </a:r>
            <a:r>
              <a:rPr lang="en-US" noProof="0" dirty="0" err="1" smtClean="0"/>
              <a:t>Klicken</a:t>
            </a:r>
            <a:r>
              <a:rPr lang="en-US" noProof="0" dirty="0" smtClean="0"/>
              <a:t> </a:t>
            </a:r>
            <a:r>
              <a:rPr lang="en-US" noProof="0" dirty="0" err="1" smtClean="0"/>
              <a:t>bearbeiten</a:t>
            </a:r>
            <a:endParaRPr lang="en-US" noProof="0" dirty="0" smtClean="0"/>
          </a:p>
          <a:p>
            <a:pPr lvl="1"/>
            <a:r>
              <a:rPr lang="en-US" noProof="0" dirty="0" err="1" smtClean="0"/>
              <a:t>Zwei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2"/>
            <a:r>
              <a:rPr lang="en-US" noProof="0" dirty="0" err="1" smtClean="0"/>
              <a:t>Drit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  <a:p>
            <a:pPr lvl="3"/>
            <a:r>
              <a:rPr lang="en-US" noProof="0" dirty="0" err="1" smtClean="0"/>
              <a:t>Vierte</a:t>
            </a:r>
            <a:r>
              <a:rPr lang="en-US" noProof="0" dirty="0" smtClean="0"/>
              <a:t> </a:t>
            </a:r>
            <a:r>
              <a:rPr lang="en-US" noProof="0" dirty="0" err="1" smtClean="0"/>
              <a:t>Ebene</a:t>
            </a:r>
            <a:endParaRPr lang="en-US" noProof="0" dirty="0" smtClean="0"/>
          </a:p>
        </p:txBody>
      </p:sp>
      <p:sp>
        <p:nvSpPr>
          <p:cNvPr id="5" name="Foliennummernplatzhalter 8"/>
          <p:cNvSpPr>
            <a:spLocks noGrp="1"/>
          </p:cNvSpPr>
          <p:nvPr>
            <p:ph type="sldNum" sz="quarter" idx="19"/>
          </p:nvPr>
        </p:nvSpPr>
        <p:spPr>
          <a:xfrm>
            <a:off x="8315325" y="5232136"/>
            <a:ext cx="571500" cy="444500"/>
          </a:xfrm>
          <a:prstGeom prst="rect">
            <a:avLst/>
          </a:prstGeom>
        </p:spPr>
        <p:txBody>
          <a:bodyPr anchor="b" anchorCtr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b="1">
                <a:solidFill>
                  <a:srgbClr val="91A5B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4CD10D8C-5C6B-4218-B435-3951CFC21F89}" type="slidenum">
              <a:rPr lang="de-DE"/>
              <a:pPr>
                <a:defRPr/>
              </a:pPr>
              <a:t>‹#›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al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2133" y="132539"/>
            <a:ext cx="8362355" cy="54901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4" y="1095376"/>
            <a:ext cx="8309201" cy="4050770"/>
          </a:xfrm>
          <a:prstGeom prst="rect">
            <a:avLst/>
          </a:prstGeom>
        </p:spPr>
        <p:txBody>
          <a:bodyPr lIns="0" tIns="0" rIns="0" bIns="0"/>
          <a:lstStyle>
            <a:lvl1pPr marL="361950" indent="-36195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3399"/>
              </a:buClr>
              <a:defRPr/>
            </a:lvl1pPr>
            <a:lvl2pPr marL="630000" indent="-27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defRPr/>
            </a:lvl2pPr>
            <a:lvl3pPr marL="900000" indent="-27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tabLst>
                <a:tab pos="1520825" algn="l"/>
              </a:tabLst>
              <a:defRPr/>
            </a:lvl3pPr>
            <a:lvl4pPr marL="1170000" indent="-27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defRPr/>
            </a:lvl4pPr>
            <a:lvl5pPr marL="1440000" indent="-27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e-AT" noProof="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_two colu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2133" y="127062"/>
            <a:ext cx="8362480" cy="555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611565" y="1095831"/>
            <a:ext cx="3960439" cy="4048126"/>
          </a:xfrm>
          <a:prstGeom prst="rect">
            <a:avLst/>
          </a:prstGeom>
        </p:spPr>
        <p:txBody>
          <a:bodyPr lIns="0" tIns="0" rIns="0" bIns="0"/>
          <a:lstStyle>
            <a:lvl1pPr marL="361950" indent="-36195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3399"/>
              </a:buClr>
              <a:defRPr/>
            </a:lvl1pPr>
            <a:lvl2pPr marL="630000" indent="-27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defRPr/>
            </a:lvl2pPr>
            <a:lvl3pPr marL="900000" indent="-27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tabLst>
                <a:tab pos="1520825" algn="l"/>
              </a:tabLst>
              <a:defRPr/>
            </a:lvl3pPr>
            <a:lvl4pPr marL="1170000" indent="-2700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defRPr/>
            </a:lvl4pPr>
            <a:lvl5pPr marL="1440000" indent="-2700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idx="10"/>
          </p:nvPr>
        </p:nvSpPr>
        <p:spPr>
          <a:xfrm>
            <a:off x="4788028" y="1095376"/>
            <a:ext cx="3960439" cy="4048126"/>
          </a:xfrm>
          <a:prstGeom prst="rect">
            <a:avLst/>
          </a:prstGeom>
        </p:spPr>
        <p:txBody>
          <a:bodyPr lIns="0" tIns="0" rIns="0" bIns="0"/>
          <a:lstStyle>
            <a:lvl1pPr marL="361950" indent="-36195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3399"/>
              </a:buClr>
              <a:defRPr/>
            </a:lvl1pPr>
            <a:lvl2pPr marL="630000" indent="-27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defRPr/>
            </a:lvl2pPr>
            <a:lvl3pPr marL="900000" indent="-27000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tabLst>
                <a:tab pos="1520825" algn="l"/>
              </a:tabLst>
              <a:defRPr/>
            </a:lvl3pPr>
            <a:lvl4pPr marL="1170000" indent="-2700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defRPr/>
            </a:lvl4pPr>
            <a:lvl5pPr marL="1440000" indent="-27000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all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2133" y="132539"/>
            <a:ext cx="8362355" cy="54901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623545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/ Last Slide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" y="-22820"/>
            <a:ext cx="9144000" cy="255697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9617" y="3157802"/>
            <a:ext cx="7164387" cy="5550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pic>
        <p:nvPicPr>
          <p:cNvPr id="8" name="Picture 19" descr="frequentis-logo.bmp                                            00000013OS9                            BD64DCCF: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74371" y="5305772"/>
            <a:ext cx="1618109" cy="341115"/>
          </a:xfrm>
          <a:prstGeom prst="rect">
            <a:avLst/>
          </a:prstGeom>
          <a:noFill/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termediate / Last Slid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" y="2"/>
            <a:ext cx="9144000" cy="268582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9617" y="3157802"/>
            <a:ext cx="7164387" cy="555000"/>
          </a:xfrm>
        </p:spPr>
        <p:txBody>
          <a:bodyPr/>
          <a:lstStyle>
            <a:lvl1pPr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pic>
        <p:nvPicPr>
          <p:cNvPr id="8" name="Picture 19" descr="frequentis-logo.bmp                                            00000013OS9                            BD64DCCF: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74371" y="5305772"/>
            <a:ext cx="1618109" cy="34111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3459232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9" descr="generic_head.gif                                               000010C0Works                          BD64DCEA:"/>
          <p:cNvPicPr>
            <a:picLocks noChangeAspect="1" noChangeArrowheads="1"/>
          </p:cNvPicPr>
          <p:nvPr userDrawn="1"/>
        </p:nvPicPr>
        <p:blipFill>
          <a:blip r:embed="rId2" cstate="print"/>
          <a:srcRect l="-20479"/>
          <a:stretch>
            <a:fillRect/>
          </a:stretch>
        </p:blipFill>
        <p:spPr bwMode="auto">
          <a:xfrm>
            <a:off x="0" y="0"/>
            <a:ext cx="9180512" cy="571500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Rectangle 20"/>
          <p:cNvSpPr>
            <a:spLocks noGrp="1" noChangeArrowheads="1"/>
          </p:cNvSpPr>
          <p:nvPr>
            <p:ph type="ctrTitle"/>
          </p:nvPr>
        </p:nvSpPr>
        <p:spPr>
          <a:xfrm>
            <a:off x="4283968" y="1416844"/>
            <a:ext cx="4633020" cy="549010"/>
          </a:xfrm>
          <a:ln w="12700"/>
        </p:spPr>
        <p:txBody>
          <a:bodyPr lIns="90488" tIns="43200" rIns="90488" bIns="44450"/>
          <a:lstStyle>
            <a:lvl1pPr>
              <a:defRPr sz="2000"/>
            </a:lvl1pPr>
          </a:lstStyle>
          <a:p>
            <a:r>
              <a:rPr lang="en-US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ubTitle" idx="1"/>
          </p:nvPr>
        </p:nvSpPr>
        <p:spPr>
          <a:xfrm>
            <a:off x="2915816" y="3217333"/>
            <a:ext cx="5904334" cy="1919553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ct val="0"/>
              </a:spcBef>
              <a:spcAft>
                <a:spcPct val="5000"/>
              </a:spcAft>
              <a:buFont typeface="Wingdings" pitchFamily="2" charset="2"/>
              <a:buNone/>
              <a:defRPr sz="1800" b="1">
                <a:solidFill>
                  <a:schemeClr val="tx2"/>
                </a:solidFill>
              </a:defRPr>
            </a:lvl1pPr>
          </a:lstStyle>
          <a:p>
            <a:r>
              <a:rPr lang="en-US" noProof="0" dirty="0" smtClean="0"/>
              <a:t>Click to edit Master subtitle style</a:t>
            </a:r>
            <a:endParaRPr lang="en-GB" noProof="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3937620"/>
            <a:ext cx="1295400" cy="1285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split orient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1389" y="157428"/>
            <a:ext cx="8048625" cy="54901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985838" y="937948"/>
            <a:ext cx="3941762" cy="41896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0" y="937948"/>
            <a:ext cx="3943350" cy="418967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header_ppt_rz.png"/>
          <p:cNvPicPr>
            <a:picLocks noChangeAspect="1"/>
          </p:cNvPicPr>
          <p:nvPr/>
        </p:nvPicPr>
        <p:blipFill>
          <a:blip r:embed="rId13" cstate="print"/>
          <a:stretch>
            <a:fillRect/>
          </a:stretch>
        </p:blipFill>
        <p:spPr>
          <a:xfrm>
            <a:off x="0" y="181013"/>
            <a:ext cx="9144000" cy="1234297"/>
          </a:xfrm>
          <a:prstGeom prst="rect">
            <a:avLst/>
          </a:prstGeom>
        </p:spPr>
      </p:pic>
      <p:sp>
        <p:nvSpPr>
          <p:cNvPr id="36147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02133" y="135000"/>
            <a:ext cx="8362480" cy="55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err="1" smtClean="0"/>
              <a:t>Mastertitelformat</a:t>
            </a:r>
            <a:r>
              <a:rPr lang="en-GB" dirty="0" smtClean="0"/>
              <a:t> </a:t>
            </a:r>
            <a:r>
              <a:rPr lang="en-GB" dirty="0" err="1" smtClean="0"/>
              <a:t>bearbeiten</a:t>
            </a:r>
            <a:endParaRPr lang="en-GB" dirty="0" smtClean="0"/>
          </a:p>
        </p:txBody>
      </p:sp>
      <p:sp>
        <p:nvSpPr>
          <p:cNvPr id="361492" name="Rectangle 20"/>
          <p:cNvSpPr>
            <a:spLocks noChangeArrowheads="1"/>
          </p:cNvSpPr>
          <p:nvPr/>
        </p:nvSpPr>
        <p:spPr bwMode="auto">
          <a:xfrm>
            <a:off x="3976567" y="3934858"/>
            <a:ext cx="182807" cy="366767"/>
          </a:xfrm>
          <a:prstGeom prst="rect">
            <a:avLst/>
          </a:prstGeom>
          <a:noFill/>
          <a:ln w="28575" algn="ctr">
            <a:noFill/>
            <a:miter lim="800000"/>
            <a:headEnd/>
            <a:tailEnd/>
          </a:ln>
          <a:effectLst/>
        </p:spPr>
        <p:txBody>
          <a:bodyPr wrap="none" lIns="90488" tIns="44450" rIns="90488" bIns="44450" anchor="ctr">
            <a:spAutoFit/>
          </a:bodyPr>
          <a:lstStyle/>
          <a:p>
            <a:endParaRPr lang="en-GB"/>
          </a:p>
        </p:txBody>
      </p:sp>
      <p:sp>
        <p:nvSpPr>
          <p:cNvPr id="25" name="TextBox 24"/>
          <p:cNvSpPr txBox="1"/>
          <p:nvPr/>
        </p:nvSpPr>
        <p:spPr>
          <a:xfrm>
            <a:off x="180004" y="135000"/>
            <a:ext cx="351057" cy="555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algn="l"/>
            <a:r>
              <a:rPr lang="en-GB" sz="2800" dirty="0" smtClean="0">
                <a:solidFill>
                  <a:schemeClr val="tx2"/>
                </a:solidFill>
                <a:latin typeface="+mj-lt"/>
                <a:sym typeface="Wingdings"/>
              </a:rPr>
              <a:t></a:t>
            </a:r>
            <a:endParaRPr lang="en-GB" sz="2800" dirty="0">
              <a:solidFill>
                <a:schemeClr val="tx2"/>
              </a:solidFill>
              <a:latin typeface="+mj-lt"/>
            </a:endParaRPr>
          </a:p>
        </p:txBody>
      </p:sp>
      <p:pic>
        <p:nvPicPr>
          <p:cNvPr id="9" name="Picture 19" descr="frequentis-logo.bmp                                            00000013OS9                            BD64DCCF: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274371" y="5305772"/>
            <a:ext cx="1618109" cy="341115"/>
          </a:xfrm>
          <a:prstGeom prst="rect">
            <a:avLst/>
          </a:prstGeom>
          <a:noFill/>
        </p:spPr>
      </p:pic>
      <p:sp>
        <p:nvSpPr>
          <p:cNvPr id="361735" name="FRQ_Pagenumber"/>
          <p:cNvSpPr txBox="1"/>
          <p:nvPr userDrawn="1"/>
        </p:nvSpPr>
        <p:spPr>
          <a:xfrm>
            <a:off x="1231899" y="5365750"/>
            <a:ext cx="4483100" cy="211667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-360000" algn="ctr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r>
              <a:rPr kumimoji="0" lang="en-GB" sz="900" b="0" i="0" u="none" strike="noStrike" kern="0" cap="none" spc="0" normalizeH="0" baseline="0" noProof="0" smtClean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ge: </a:t>
            </a:r>
            <a:fld id="{68D405AE-D904-42B4-BE46-0A886016A28A}" type="slidenum">
              <a:rPr kumimoji="0" lang="en-GB" sz="900" b="0" i="0" u="none" strike="noStrike" kern="0" cap="none" spc="0" normalizeH="0" baseline="0" noProof="0" smtClean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‹#›</a:t>
            </a:fld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BFBFB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1736" name="FRQ_Copyright"/>
          <p:cNvSpPr txBox="1"/>
          <p:nvPr userDrawn="1"/>
        </p:nvSpPr>
        <p:spPr>
          <a:xfrm>
            <a:off x="596899" y="5365750"/>
            <a:ext cx="1143000" cy="20774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none" lIns="0" tIns="0" rIns="0" bIns="0" rtlCol="0" anchor="t" anchorCtr="0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r>
              <a:rPr kumimoji="0" lang="en-GB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© FREQUENTIS 2014</a:t>
            </a:r>
          </a:p>
        </p:txBody>
      </p:sp>
      <p:sp>
        <p:nvSpPr>
          <p:cNvPr id="361738" name="FRQ_Date"/>
          <p:cNvSpPr txBox="1"/>
          <p:nvPr userDrawn="1"/>
        </p:nvSpPr>
        <p:spPr>
          <a:xfrm>
            <a:off x="4444999" y="5365750"/>
            <a:ext cx="1905000" cy="20774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-360000" algn="r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r>
              <a:rPr kumimoji="0" lang="en-GB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ation Date: 2014-08-26</a:t>
            </a:r>
          </a:p>
        </p:txBody>
      </p:sp>
      <p:sp>
        <p:nvSpPr>
          <p:cNvPr id="361739" name="FRQ_Filename"/>
          <p:cNvSpPr txBox="1"/>
          <p:nvPr userDrawn="1"/>
        </p:nvSpPr>
        <p:spPr>
          <a:xfrm>
            <a:off x="596899" y="5503333"/>
            <a:ext cx="4483100" cy="20774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r>
              <a:rPr kumimoji="0" lang="en-GB" sz="900" b="0" i="0" u="none" strike="noStrike" kern="0" cap="none" spc="0" normalizeH="0" baseline="0" noProof="0" smtClean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EQUENTIS.pptx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BFBFB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1740" name="FRQ_Author"/>
          <p:cNvSpPr txBox="1"/>
          <p:nvPr userDrawn="1"/>
        </p:nvSpPr>
        <p:spPr>
          <a:xfrm>
            <a:off x="3543299" y="5503333"/>
            <a:ext cx="2806700" cy="207749"/>
          </a:xfrm>
          <a:prstGeom prst="rect">
            <a:avLst/>
          </a:prstGeom>
          <a:solidFill>
            <a:srgbClr val="FFFFFF">
              <a:alpha val="0"/>
            </a:srgbClr>
          </a:solidFill>
        </p:spPr>
        <p:txBody>
          <a:bodyPr vert="horz" wrap="square" lIns="0" tIns="0" rIns="0" bIns="0" rtlCol="0" anchor="t" anchorCtr="0">
            <a:noAutofit/>
          </a:bodyPr>
          <a:lstStyle/>
          <a:p>
            <a:pPr marL="0" marR="0" indent="-360000" algn="r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r>
              <a:rPr kumimoji="0" lang="en-GB" sz="900" b="0" i="0" u="none" strike="noStrike" kern="0" cap="none" spc="0" normalizeH="0" baseline="0" noProof="0" smtClean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thor: Hannes Brunner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BFBFB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68" r:id="rId2"/>
    <p:sldLayoutId id="2147483707" r:id="rId3"/>
    <p:sldLayoutId id="2147483711" r:id="rId4"/>
    <p:sldLayoutId id="2147483710" r:id="rId5"/>
    <p:sldLayoutId id="2147483712" r:id="rId6"/>
    <p:sldLayoutId id="2147483714" r:id="rId7"/>
    <p:sldLayoutId id="2147483715" r:id="rId8"/>
    <p:sldLayoutId id="2147483716" r:id="rId9"/>
    <p:sldLayoutId id="2147483717" r:id="rId10"/>
    <p:sldLayoutId id="2147483719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3399"/>
          </a:solidFill>
          <a:latin typeface="Arial" charset="0"/>
        </a:defRPr>
      </a:lvl9pPr>
    </p:titleStyle>
    <p:bodyStyle>
      <a:lvl1pPr marL="450850" indent="-450850" algn="l" rtl="0" eaLnBrk="1" fontAlgn="base" hangingPunct="1">
        <a:spcBef>
          <a:spcPct val="50000"/>
        </a:spcBef>
        <a:spcAft>
          <a:spcPct val="35000"/>
        </a:spcAft>
        <a:buClr>
          <a:schemeClr val="bg2"/>
        </a:buClr>
        <a:buFont typeface="Wingdings" pitchFamily="2" charset="2"/>
        <a:buChar char="à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901700" indent="-271463" algn="l" rtl="0" eaLnBrk="1" fontAlgn="base" hangingPunct="1">
        <a:spcBef>
          <a:spcPct val="0"/>
        </a:spcBef>
        <a:spcAft>
          <a:spcPct val="35000"/>
        </a:spcAft>
        <a:buClr>
          <a:schemeClr val="bg2"/>
        </a:buClr>
        <a:buChar char="-"/>
        <a:defRPr sz="1600">
          <a:solidFill>
            <a:schemeClr val="tx1"/>
          </a:solidFill>
          <a:latin typeface="+mn-lt"/>
        </a:defRPr>
      </a:lvl2pPr>
      <a:lvl3pPr marL="1258888" indent="-177800" algn="l" rtl="0" eaLnBrk="1" fontAlgn="base" hangingPunct="1">
        <a:spcBef>
          <a:spcPct val="0"/>
        </a:spcBef>
        <a:spcAft>
          <a:spcPct val="35000"/>
        </a:spcAft>
        <a:buClr>
          <a:schemeClr val="bg2"/>
        </a:buClr>
        <a:buChar char="-"/>
        <a:defRPr sz="1600">
          <a:solidFill>
            <a:schemeClr val="tx1"/>
          </a:solidFill>
          <a:latin typeface="+mn-lt"/>
        </a:defRPr>
      </a:lvl3pPr>
      <a:lvl4pPr marL="4511675" indent="-417513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4930775" indent="-228600" algn="l" rtl="0" eaLnBrk="1" fontAlgn="base" hangingPunct="1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5pPr>
      <a:lvl6pPr marL="5387975" indent="-228600" algn="l" rtl="0" eaLnBrk="1" fontAlgn="base" hangingPunct="1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6pPr>
      <a:lvl7pPr marL="5845175" indent="-228600" algn="l" rtl="0" eaLnBrk="1" fontAlgn="base" hangingPunct="1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7pPr>
      <a:lvl8pPr marL="6302375" indent="-228600" algn="l" rtl="0" eaLnBrk="1" fontAlgn="base" hangingPunct="1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8pPr>
      <a:lvl9pPr marL="6759575" indent="-228600" algn="l" rtl="0" eaLnBrk="1" fontAlgn="base" hangingPunct="1">
        <a:spcBef>
          <a:spcPct val="20000"/>
        </a:spcBef>
        <a:spcAft>
          <a:spcPct val="0"/>
        </a:spcAft>
        <a:buChar char="-"/>
        <a:defRPr sz="1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1.wmf"/><Relationship Id="rId5" Type="http://schemas.openxmlformats.org/officeDocument/2006/relationships/image" Target="../media/image30.wmf"/><Relationship Id="rId4" Type="http://schemas.openxmlformats.org/officeDocument/2006/relationships/image" Target="../media/image29.w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gi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 smtClean="0"/>
              <a:t>The Smart Way of Managing Aeronautical Information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sz="1200" dirty="0" smtClean="0"/>
              <a:t>August 2014</a:t>
            </a:r>
            <a:endParaRPr lang="en-GB" sz="12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 smtClean="0"/>
              <a:t>Hannes Brunner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GB" smtClean="0">
                <a:solidFill>
                  <a:schemeClr val="tx1"/>
                </a:solidFill>
              </a:rPr>
              <a:t>www.smartAIM.net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indent="-36000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indent="-36000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indent="-36000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Customer Satisfaction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idx="1"/>
          </p:nvPr>
        </p:nvSpPr>
        <p:spPr>
          <a:xfrm>
            <a:off x="611562" y="1017296"/>
            <a:ext cx="8309201" cy="4128850"/>
          </a:xfrm>
        </p:spPr>
        <p:txBody>
          <a:bodyPr/>
          <a:lstStyle/>
          <a:p>
            <a:pPr eaLnBrk="1" hangingPunct="1">
              <a:spcBef>
                <a:spcPct val="35000"/>
              </a:spcBef>
              <a:tabLst>
                <a:tab pos="7797800" algn="r"/>
              </a:tabLst>
            </a:pPr>
            <a:r>
              <a:rPr lang="en-GB" sz="1300" dirty="0" smtClean="0"/>
              <a:t>“ … outstanding professionalism and commitment … “ 	  [MET Police, UK]</a:t>
            </a:r>
          </a:p>
          <a:p>
            <a:pPr eaLnBrk="1" hangingPunct="1">
              <a:spcBef>
                <a:spcPct val="35000"/>
              </a:spcBef>
              <a:tabLst>
                <a:tab pos="7797800" algn="r"/>
              </a:tabLst>
            </a:pPr>
            <a:r>
              <a:rPr lang="en-GB" sz="1300" dirty="0" smtClean="0"/>
              <a:t>“ … high standards of quality and reliability of systems </a:t>
            </a:r>
            <a:br>
              <a:rPr lang="en-GB" sz="1300" dirty="0" smtClean="0"/>
            </a:br>
            <a:r>
              <a:rPr lang="en-GB" sz="1300" dirty="0" smtClean="0"/>
              <a:t>and of Frequentis support services … “ 	  [Flemish Government, Belgium]</a:t>
            </a:r>
          </a:p>
          <a:p>
            <a:pPr eaLnBrk="1" hangingPunct="1">
              <a:spcBef>
                <a:spcPct val="35000"/>
              </a:spcBef>
              <a:tabLst>
                <a:tab pos="7797800" algn="r"/>
              </a:tabLst>
            </a:pPr>
            <a:r>
              <a:rPr lang="en-GB" sz="1300" dirty="0" smtClean="0"/>
              <a:t>“ … comprehensive know-how … combined with their </a:t>
            </a:r>
            <a:br>
              <a:rPr lang="en-GB" sz="1300" dirty="0" smtClean="0"/>
            </a:br>
            <a:r>
              <a:rPr lang="en-GB" sz="1300" dirty="0" smtClean="0"/>
              <a:t>reputation to deliver in time and on budget … “ 	  [EADS Defence &amp; Security, Germany]</a:t>
            </a:r>
          </a:p>
          <a:p>
            <a:pPr eaLnBrk="1" hangingPunct="1">
              <a:spcBef>
                <a:spcPct val="35000"/>
              </a:spcBef>
              <a:tabLst>
                <a:tab pos="7797800" algn="r"/>
              </a:tabLst>
            </a:pPr>
            <a:r>
              <a:rPr lang="en-GB" sz="1300" dirty="0" smtClean="0"/>
              <a:t>“ … a reliable and dependable supplier with a </a:t>
            </a:r>
            <a:br>
              <a:rPr lang="en-GB" sz="1300" dirty="0" smtClean="0"/>
            </a:br>
            <a:r>
              <a:rPr lang="en-GB" sz="1300" dirty="0" smtClean="0"/>
              <a:t>strong customer focus …” 	  [Boeing Australia Limited]</a:t>
            </a:r>
          </a:p>
          <a:p>
            <a:pPr eaLnBrk="1" hangingPunct="1">
              <a:buFont typeface="Wingdings" pitchFamily="2" charset="2"/>
              <a:buNone/>
              <a:tabLst>
                <a:tab pos="7797800" algn="r"/>
              </a:tabLst>
            </a:pPr>
            <a:endParaRPr lang="en-GB" sz="1300" dirty="0" smtClean="0"/>
          </a:p>
        </p:txBody>
      </p:sp>
      <p:sp>
        <p:nvSpPr>
          <p:cNvPr id="2053" name="Rectangle 9"/>
          <p:cNvSpPr>
            <a:spLocks noChangeArrowheads="1"/>
          </p:cNvSpPr>
          <p:nvPr/>
        </p:nvSpPr>
        <p:spPr bwMode="auto">
          <a:xfrm>
            <a:off x="867421" y="4763368"/>
            <a:ext cx="7593013" cy="374386"/>
          </a:xfrm>
          <a:prstGeom prst="rect">
            <a:avLst/>
          </a:prstGeom>
          <a:solidFill>
            <a:srgbClr val="99CCFF"/>
          </a:solidFill>
          <a:ln w="50800" algn="ctr">
            <a:solidFill>
              <a:srgbClr val="99CCFF"/>
            </a:solidFill>
            <a:miter lim="800000"/>
            <a:headEnd/>
            <a:tailEnd/>
          </a:ln>
        </p:spPr>
        <p:txBody>
          <a:bodyPr lIns="90488" tIns="44450" rIns="90488" bIns="44450" anchor="ctr"/>
          <a:lstStyle/>
          <a:p>
            <a:pPr marL="450850" indent="-450850" algn="ctr" eaLnBrk="1" hangingPunct="1">
              <a:spcBef>
                <a:spcPct val="50000"/>
              </a:spcBef>
              <a:spcAft>
                <a:spcPct val="35000"/>
              </a:spcAft>
              <a:buClr>
                <a:schemeClr val="bg2"/>
              </a:buClr>
              <a:buFont typeface="Wingdings" pitchFamily="2" charset="2"/>
              <a:buNone/>
            </a:pPr>
            <a:r>
              <a:rPr lang="en-GB" sz="1400" b="1" dirty="0"/>
              <a:t>Utmost customer satisfaction as basis for long running customer care.</a:t>
            </a:r>
          </a:p>
        </p:txBody>
      </p:sp>
      <p:grpSp>
        <p:nvGrpSpPr>
          <p:cNvPr id="15" name="Group 4"/>
          <p:cNvGrpSpPr>
            <a:grpSpLocks/>
          </p:cNvGrpSpPr>
          <p:nvPr/>
        </p:nvGrpSpPr>
        <p:grpSpPr bwMode="auto">
          <a:xfrm>
            <a:off x="251522" y="2823131"/>
            <a:ext cx="8569325" cy="1874573"/>
            <a:chOff x="249" y="2115"/>
            <a:chExt cx="5398" cy="1417"/>
          </a:xfrm>
        </p:grpSpPr>
        <p:pic>
          <p:nvPicPr>
            <p:cNvPr id="16" name="Picture 5"/>
            <p:cNvPicPr>
              <a:picLocks noChangeAspect="1" noChangeArrowheads="1"/>
            </p:cNvPicPr>
            <p:nvPr/>
          </p:nvPicPr>
          <p:blipFill>
            <a:blip r:embed="rId3" cstate="print"/>
            <a:srcRect l="2731" t="3151" r="2185" b="3151"/>
            <a:stretch>
              <a:fillRect/>
            </a:stretch>
          </p:blipFill>
          <p:spPr bwMode="auto">
            <a:xfrm>
              <a:off x="249" y="2366"/>
              <a:ext cx="1691" cy="1156"/>
            </a:xfrm>
            <a:prstGeom prst="rect">
              <a:avLst/>
            </a:prstGeom>
            <a:noFill/>
            <a:ln w="12700" algn="ctr">
              <a:solidFill>
                <a:schemeClr val="accent2"/>
              </a:solidFill>
              <a:miter lim="800000"/>
              <a:headEnd/>
              <a:tailEnd/>
            </a:ln>
          </p:spPr>
        </p:pic>
        <p:pic>
          <p:nvPicPr>
            <p:cNvPr id="17" name="Picture 6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064" y="2342"/>
              <a:ext cx="1134" cy="1190"/>
            </a:xfrm>
            <a:prstGeom prst="rect">
              <a:avLst/>
            </a:prstGeom>
            <a:noFill/>
            <a:ln w="12700" algn="ctr">
              <a:solidFill>
                <a:schemeClr val="accent2"/>
              </a:solidFill>
              <a:miter lim="800000"/>
              <a:headEnd/>
              <a:tailEnd/>
            </a:ln>
          </p:spPr>
        </p:pic>
        <p:pic>
          <p:nvPicPr>
            <p:cNvPr id="18" name="Picture 7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513" y="2115"/>
              <a:ext cx="1134" cy="1406"/>
            </a:xfrm>
            <a:prstGeom prst="rect">
              <a:avLst/>
            </a:prstGeom>
            <a:noFill/>
            <a:ln w="12700" algn="ctr">
              <a:solidFill>
                <a:schemeClr val="accent2"/>
              </a:solidFill>
              <a:miter lim="800000"/>
              <a:headEnd/>
              <a:tailEnd/>
            </a:ln>
          </p:spPr>
        </p:pic>
        <p:pic>
          <p:nvPicPr>
            <p:cNvPr id="19" name="Picture 8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288" y="2342"/>
              <a:ext cx="1134" cy="1179"/>
            </a:xfrm>
            <a:prstGeom prst="rect">
              <a:avLst/>
            </a:prstGeom>
            <a:noFill/>
            <a:ln w="12700" algn="ctr">
              <a:solidFill>
                <a:schemeClr val="accent2"/>
              </a:solidFill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25153091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GB" dirty="0" smtClean="0"/>
              <a:t>Worldwide References</a:t>
            </a:r>
            <a:endParaRPr lang="en-GB" sz="1600" dirty="0" smtClean="0"/>
          </a:p>
        </p:txBody>
      </p:sp>
      <p:sp>
        <p:nvSpPr>
          <p:cNvPr id="3076" name="Text Box 4"/>
          <p:cNvSpPr txBox="1">
            <a:spLocks noChangeArrowheads="1"/>
          </p:cNvSpPr>
          <p:nvPr/>
        </p:nvSpPr>
        <p:spPr bwMode="auto">
          <a:xfrm rot="16200000">
            <a:off x="8261284" y="4387066"/>
            <a:ext cx="1088760" cy="23083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GB" sz="900" dirty="0">
                <a:solidFill>
                  <a:srgbClr val="808080"/>
                </a:solidFill>
              </a:rPr>
              <a:t>[Excerpt </a:t>
            </a:r>
            <a:r>
              <a:rPr lang="en-GB" sz="900" dirty="0" smtClean="0">
                <a:solidFill>
                  <a:srgbClr val="808080"/>
                </a:solidFill>
              </a:rPr>
              <a:t>05/2013]</a:t>
            </a:r>
            <a:endParaRPr lang="en-GB" sz="900" dirty="0">
              <a:solidFill>
                <a:srgbClr val="808080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87294" y="905276"/>
            <a:ext cx="7092279" cy="4320480"/>
            <a:chOff x="0" y="1164697"/>
            <a:chExt cx="8458011" cy="5197573"/>
          </a:xfrm>
        </p:grpSpPr>
        <p:pic>
          <p:nvPicPr>
            <p:cNvPr id="9" name="Picture 2" descr="C:\Users\mkalina\AppData\Local\Temp\Temp1_at_a_glance_charts.zip\at_a_glance_charts\at_a_glance_wow_illu_0513_web.gif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568" r="3706" b="5854"/>
            <a:stretch/>
          </p:blipFill>
          <p:spPr bwMode="auto">
            <a:xfrm>
              <a:off x="223358" y="1164697"/>
              <a:ext cx="8234653" cy="51836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Rectangle 9"/>
            <p:cNvSpPr/>
            <p:nvPr/>
          </p:nvSpPr>
          <p:spPr bwMode="auto">
            <a:xfrm>
              <a:off x="0" y="6237312"/>
              <a:ext cx="1907704" cy="124958"/>
            </a:xfrm>
            <a:prstGeom prst="rect">
              <a:avLst/>
            </a:prstGeom>
            <a:solidFill>
              <a:schemeClr val="bg1"/>
            </a:solidFill>
            <a:ln w="12700" cap="sq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GB" sz="11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" name="TextBox 4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36730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Frequentis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AI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0259725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Frequentis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EAD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err="1" smtClean="0"/>
              <a:t>Frequentis</a:t>
            </a:r>
            <a:r>
              <a:rPr lang="de-AT" dirty="0" smtClean="0"/>
              <a:t> </a:t>
            </a:r>
            <a:r>
              <a:rPr lang="de-AT" dirty="0" err="1" smtClean="0"/>
              <a:t>has</a:t>
            </a:r>
            <a:r>
              <a:rPr lang="de-AT" dirty="0" smtClean="0"/>
              <a:t> </a:t>
            </a:r>
            <a:r>
              <a:rPr lang="de-AT" dirty="0" err="1" smtClean="0"/>
              <a:t>developed</a:t>
            </a:r>
            <a:r>
              <a:rPr lang="de-AT" dirty="0" smtClean="0"/>
              <a:t> </a:t>
            </a:r>
            <a:r>
              <a:rPr lang="de-AT" dirty="0" err="1" smtClean="0"/>
              <a:t>the</a:t>
            </a:r>
            <a:r>
              <a:rPr lang="de-AT" dirty="0" smtClean="0"/>
              <a:t> EAD </a:t>
            </a:r>
            <a:r>
              <a:rPr lang="de-AT" dirty="0" err="1" smtClean="0"/>
              <a:t>for</a:t>
            </a:r>
            <a:r>
              <a:rPr lang="de-AT" dirty="0" smtClean="0"/>
              <a:t> </a:t>
            </a:r>
            <a:r>
              <a:rPr lang="de-AT" dirty="0" err="1" smtClean="0"/>
              <a:t>Eurocontrol</a:t>
            </a:r>
            <a:endParaRPr lang="de-AT" dirty="0" smtClean="0"/>
          </a:p>
          <a:p>
            <a:pPr lvl="1"/>
            <a:r>
              <a:rPr lang="de-AT" dirty="0" smtClean="0"/>
              <a:t>EAD </a:t>
            </a:r>
            <a:r>
              <a:rPr lang="de-AT" dirty="0" err="1" smtClean="0"/>
              <a:t>is</a:t>
            </a:r>
            <a:r>
              <a:rPr lang="de-AT" dirty="0" smtClean="0"/>
              <a:t> </a:t>
            </a:r>
            <a:r>
              <a:rPr lang="de-AT" dirty="0" err="1" smtClean="0"/>
              <a:t>the</a:t>
            </a:r>
            <a:r>
              <a:rPr lang="de-AT" dirty="0" smtClean="0"/>
              <a:t> </a:t>
            </a:r>
            <a:r>
              <a:rPr lang="de-AT" dirty="0" err="1" smtClean="0"/>
              <a:t>largest</a:t>
            </a:r>
            <a:r>
              <a:rPr lang="de-AT" dirty="0" smtClean="0"/>
              <a:t> AIM </a:t>
            </a:r>
            <a:r>
              <a:rPr lang="de-AT" dirty="0" err="1" smtClean="0"/>
              <a:t>system</a:t>
            </a:r>
            <a:r>
              <a:rPr lang="de-AT" dirty="0" smtClean="0"/>
              <a:t> in </a:t>
            </a:r>
            <a:r>
              <a:rPr lang="de-AT" dirty="0" err="1" smtClean="0"/>
              <a:t>the</a:t>
            </a:r>
            <a:r>
              <a:rPr lang="de-AT" dirty="0" smtClean="0"/>
              <a:t> </a:t>
            </a:r>
            <a:r>
              <a:rPr lang="de-AT" dirty="0" err="1" smtClean="0"/>
              <a:t>world</a:t>
            </a:r>
            <a:endParaRPr lang="de-AT" dirty="0" smtClean="0"/>
          </a:p>
          <a:p>
            <a:pPr lvl="1"/>
            <a:r>
              <a:rPr lang="de-AT" dirty="0" err="1" smtClean="0"/>
              <a:t>Operated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maintained</a:t>
            </a:r>
            <a:r>
              <a:rPr lang="de-AT" dirty="0" smtClean="0"/>
              <a:t> on behalf </a:t>
            </a:r>
            <a:r>
              <a:rPr lang="de-AT" dirty="0" err="1" smtClean="0"/>
              <a:t>of</a:t>
            </a:r>
            <a:r>
              <a:rPr lang="de-AT" dirty="0" smtClean="0"/>
              <a:t> </a:t>
            </a:r>
            <a:r>
              <a:rPr lang="de-AT" dirty="0" err="1" smtClean="0"/>
              <a:t>Eurocontrol</a:t>
            </a:r>
            <a:endParaRPr lang="de-AT" dirty="0" smtClean="0"/>
          </a:p>
          <a:p>
            <a:pPr lvl="1"/>
            <a:r>
              <a:rPr lang="de-AT" dirty="0" err="1" smtClean="0"/>
              <a:t>Constantly</a:t>
            </a:r>
            <a:r>
              <a:rPr lang="de-AT" dirty="0" smtClean="0"/>
              <a:t> </a:t>
            </a:r>
            <a:r>
              <a:rPr lang="de-AT" dirty="0" err="1" smtClean="0"/>
              <a:t>being</a:t>
            </a:r>
            <a:r>
              <a:rPr lang="de-AT" dirty="0" smtClean="0"/>
              <a:t> </a:t>
            </a:r>
            <a:r>
              <a:rPr lang="de-AT" dirty="0" err="1" smtClean="0"/>
              <a:t>updated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modernised</a:t>
            </a:r>
            <a:endParaRPr lang="de-AT" dirty="0" smtClean="0"/>
          </a:p>
          <a:p>
            <a:pPr lvl="1"/>
            <a:r>
              <a:rPr lang="de-AT" dirty="0" err="1" smtClean="0"/>
              <a:t>providing</a:t>
            </a:r>
            <a:r>
              <a:rPr lang="de-AT" dirty="0" smtClean="0"/>
              <a:t> </a:t>
            </a:r>
            <a:r>
              <a:rPr lang="de-AT" dirty="0" err="1" smtClean="0"/>
              <a:t>services</a:t>
            </a:r>
            <a:r>
              <a:rPr lang="de-AT" dirty="0" smtClean="0"/>
              <a:t> </a:t>
            </a:r>
            <a:r>
              <a:rPr lang="de-AT" dirty="0" err="1" smtClean="0"/>
              <a:t>to</a:t>
            </a:r>
            <a:r>
              <a:rPr lang="de-AT" dirty="0" smtClean="0"/>
              <a:t> </a:t>
            </a:r>
            <a:r>
              <a:rPr lang="de-AT" dirty="0" err="1" smtClean="0"/>
              <a:t>approximately</a:t>
            </a:r>
            <a:r>
              <a:rPr lang="de-AT" dirty="0" smtClean="0"/>
              <a:t> 60 </a:t>
            </a:r>
            <a:r>
              <a:rPr lang="de-AT" dirty="0" err="1" smtClean="0"/>
              <a:t>organisations</a:t>
            </a:r>
            <a:r>
              <a:rPr lang="de-AT" dirty="0" smtClean="0"/>
              <a:t> in </a:t>
            </a:r>
            <a:r>
              <a:rPr lang="de-AT" dirty="0" err="1" smtClean="0"/>
              <a:t>around</a:t>
            </a:r>
            <a:r>
              <a:rPr lang="de-AT" dirty="0" smtClean="0"/>
              <a:t> 50 countries</a:t>
            </a:r>
          </a:p>
          <a:p>
            <a:pPr lvl="1"/>
            <a:r>
              <a:rPr lang="de-AT" dirty="0" smtClean="0"/>
              <a:t>10 </a:t>
            </a:r>
            <a:r>
              <a:rPr lang="de-AT" dirty="0" err="1" smtClean="0"/>
              <a:t>years</a:t>
            </a:r>
            <a:r>
              <a:rPr lang="de-AT" dirty="0" smtClean="0"/>
              <a:t> </a:t>
            </a:r>
            <a:r>
              <a:rPr lang="de-AT" dirty="0" err="1" smtClean="0"/>
              <a:t>anniversary</a:t>
            </a:r>
            <a:endParaRPr lang="de-AT" dirty="0" smtClean="0"/>
          </a:p>
          <a:p>
            <a:r>
              <a:rPr lang="de-AT" dirty="0" smtClean="0"/>
              <a:t>EAD </a:t>
            </a:r>
            <a:r>
              <a:rPr lang="de-AT" dirty="0" err="1" smtClean="0"/>
              <a:t>is</a:t>
            </a:r>
            <a:r>
              <a:rPr lang="de-AT" dirty="0" smtClean="0"/>
              <a:t> </a:t>
            </a:r>
            <a:r>
              <a:rPr lang="de-AT" dirty="0" err="1" smtClean="0"/>
              <a:t>the</a:t>
            </a:r>
            <a:r>
              <a:rPr lang="de-AT" dirty="0" smtClean="0"/>
              <a:t> </a:t>
            </a:r>
            <a:r>
              <a:rPr lang="de-AT" dirty="0" err="1" smtClean="0"/>
              <a:t>first</a:t>
            </a:r>
            <a:r>
              <a:rPr lang="de-AT" dirty="0" smtClean="0"/>
              <a:t> AIM </a:t>
            </a:r>
            <a:r>
              <a:rPr lang="de-AT" dirty="0" err="1" smtClean="0"/>
              <a:t>cloud</a:t>
            </a:r>
            <a:r>
              <a:rPr lang="de-AT" dirty="0" smtClean="0"/>
              <a:t> </a:t>
            </a:r>
            <a:r>
              <a:rPr lang="de-AT" dirty="0" err="1" smtClean="0"/>
              <a:t>service</a:t>
            </a:r>
            <a:endParaRPr lang="de-AT" dirty="0" smtClean="0"/>
          </a:p>
          <a:p>
            <a:pPr lvl="1"/>
            <a:r>
              <a:rPr lang="de-AT" dirty="0" smtClean="0"/>
              <a:t>system-</a:t>
            </a:r>
            <a:r>
              <a:rPr lang="de-AT" dirty="0" err="1" smtClean="0"/>
              <a:t>to</a:t>
            </a:r>
            <a:r>
              <a:rPr lang="de-AT" dirty="0" smtClean="0"/>
              <a:t>-system </a:t>
            </a:r>
            <a:r>
              <a:rPr lang="de-AT" dirty="0" err="1" smtClean="0"/>
              <a:t>connections</a:t>
            </a:r>
            <a:r>
              <a:rPr lang="de-AT" dirty="0" smtClean="0"/>
              <a:t> (B2B) </a:t>
            </a:r>
            <a:r>
              <a:rPr lang="de-AT" dirty="0" err="1" smtClean="0"/>
              <a:t>or</a:t>
            </a:r>
            <a:endParaRPr lang="de-AT" dirty="0" smtClean="0"/>
          </a:p>
          <a:p>
            <a:pPr lvl="1"/>
            <a:r>
              <a:rPr lang="de-AT" dirty="0" smtClean="0"/>
              <a:t>system-</a:t>
            </a:r>
            <a:r>
              <a:rPr lang="de-AT" dirty="0" err="1" smtClean="0"/>
              <a:t>to</a:t>
            </a:r>
            <a:r>
              <a:rPr lang="de-AT" dirty="0" smtClean="0"/>
              <a:t>-client </a:t>
            </a:r>
            <a:r>
              <a:rPr lang="de-AT" dirty="0" err="1" smtClean="0"/>
              <a:t>connections</a:t>
            </a:r>
            <a:r>
              <a:rPr lang="de-AT" dirty="0" smtClean="0"/>
              <a:t> (B2C) </a:t>
            </a:r>
            <a:r>
              <a:rPr lang="de-AT" dirty="0" err="1" smtClean="0"/>
              <a:t>are</a:t>
            </a:r>
            <a:r>
              <a:rPr lang="de-AT" dirty="0" smtClean="0"/>
              <a:t> </a:t>
            </a:r>
            <a:r>
              <a:rPr lang="de-AT" dirty="0" err="1" smtClean="0"/>
              <a:t>possible</a:t>
            </a:r>
            <a:endParaRPr lang="de-AT" dirty="0" smtClean="0"/>
          </a:p>
          <a:p>
            <a:pPr lvl="1"/>
            <a:r>
              <a:rPr lang="de-AT" dirty="0" smtClean="0"/>
              <a:t>First SWIM </a:t>
            </a:r>
            <a:r>
              <a:rPr lang="de-AT" dirty="0" err="1" smtClean="0"/>
              <a:t>implementation</a:t>
            </a:r>
            <a:r>
              <a:rPr lang="de-AT" dirty="0" smtClean="0"/>
              <a:t> in Europe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0345545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The </a:t>
            </a:r>
            <a:r>
              <a:rPr lang="de-AT" dirty="0" err="1" smtClean="0"/>
              <a:t>Frequentis</a:t>
            </a:r>
            <a:r>
              <a:rPr lang="de-AT" dirty="0" smtClean="0"/>
              <a:t> AIM Framework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600" b="1" dirty="0" smtClean="0"/>
              <a:t>AIM </a:t>
            </a:r>
            <a:r>
              <a:rPr lang="en-GB" sz="1600" b="1" dirty="0"/>
              <a:t>platform delivery </a:t>
            </a:r>
            <a:r>
              <a:rPr lang="en-GB" sz="1600" dirty="0" err="1"/>
              <a:t>Frequentis</a:t>
            </a:r>
            <a:r>
              <a:rPr lang="en-GB" sz="1600" dirty="0"/>
              <a:t> delivers AIM solutions worldwide, hardware and software; major examples: EAD, Canada, South Africa, New Zealand, DFS, Hong Kong, Philippines, Morocco, </a:t>
            </a:r>
            <a:r>
              <a:rPr lang="en-GB" sz="1600" dirty="0" err="1" smtClean="0"/>
              <a:t>Austrocontrol</a:t>
            </a:r>
            <a:endParaRPr lang="en-GB" sz="1600" dirty="0"/>
          </a:p>
          <a:p>
            <a:r>
              <a:rPr lang="en-GB" sz="1600" b="1" dirty="0" smtClean="0"/>
              <a:t>AIM </a:t>
            </a:r>
            <a:r>
              <a:rPr lang="en-GB" sz="1600" b="1" dirty="0"/>
              <a:t>platform/system operation </a:t>
            </a:r>
            <a:r>
              <a:rPr lang="en-GB" sz="1600" dirty="0" err="1"/>
              <a:t>Frequentis</a:t>
            </a:r>
            <a:r>
              <a:rPr lang="en-GB" sz="1600" dirty="0"/>
              <a:t> offers operation of the IT platforms of AIM solutions; major examples: EAD, Internet Briefing Websites of NATS, </a:t>
            </a:r>
            <a:r>
              <a:rPr lang="en-GB" sz="1600" dirty="0" err="1"/>
              <a:t>NavPortugal</a:t>
            </a:r>
            <a:r>
              <a:rPr lang="en-GB" sz="1600" dirty="0"/>
              <a:t>, LVNL, </a:t>
            </a:r>
            <a:r>
              <a:rPr lang="en-GB" sz="1600" dirty="0" err="1"/>
              <a:t>etc</a:t>
            </a:r>
            <a:r>
              <a:rPr lang="en-GB" sz="1600" dirty="0"/>
              <a:t> </a:t>
            </a:r>
          </a:p>
          <a:p>
            <a:r>
              <a:rPr lang="en-GB" sz="1600" b="1" dirty="0" smtClean="0"/>
              <a:t>Data </a:t>
            </a:r>
            <a:r>
              <a:rPr lang="en-GB" sz="1600" b="1" dirty="0"/>
              <a:t>Migration services </a:t>
            </a:r>
            <a:r>
              <a:rPr lang="en-GB" sz="1600" dirty="0" err="1"/>
              <a:t>Frequentis</a:t>
            </a:r>
            <a:r>
              <a:rPr lang="en-GB" sz="1600" dirty="0"/>
              <a:t> offers initial data migration services for customers changing from AIS to AIM (usually in co-operation with </a:t>
            </a:r>
            <a:r>
              <a:rPr lang="en-GB" sz="1600" dirty="0" err="1"/>
              <a:t>GroupEAD</a:t>
            </a:r>
            <a:r>
              <a:rPr lang="en-GB" sz="1600" dirty="0"/>
              <a:t>); major examples: all EAD customers, CAD Hong Kong, ATNS </a:t>
            </a:r>
          </a:p>
          <a:p>
            <a:r>
              <a:rPr lang="en-GB" sz="1600" b="1" dirty="0" smtClean="0"/>
              <a:t>Migration </a:t>
            </a:r>
            <a:r>
              <a:rPr lang="en-GB" sz="1600" b="1" dirty="0"/>
              <a:t>services </a:t>
            </a:r>
            <a:r>
              <a:rPr lang="en-GB" sz="1600" dirty="0" err="1"/>
              <a:t>Frequentis</a:t>
            </a:r>
            <a:r>
              <a:rPr lang="en-GB" sz="1600" dirty="0"/>
              <a:t> offers initial further migration services for customers who want to connect to a major AIM data repository like EAD. </a:t>
            </a:r>
            <a:r>
              <a:rPr lang="en-GB" sz="1600" dirty="0" err="1"/>
              <a:t>Frequentis</a:t>
            </a:r>
            <a:r>
              <a:rPr lang="en-GB" sz="1600" dirty="0"/>
              <a:t> plans that together with the customer and co-ordinates all technical pre-requisites that the migration process is successful </a:t>
            </a:r>
          </a:p>
          <a:p>
            <a:endParaRPr lang="en-GB" sz="1600" dirty="0"/>
          </a:p>
        </p:txBody>
      </p:sp>
    </p:spTree>
    <p:extLst>
      <p:ext uri="{BB962C8B-B14F-4D97-AF65-F5344CB8AC3E}">
        <p14:creationId xmlns:p14="http://schemas.microsoft.com/office/powerpoint/2010/main" val="40486750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The </a:t>
            </a:r>
            <a:r>
              <a:rPr lang="de-AT" dirty="0" err="1" smtClean="0"/>
              <a:t>Frequentis</a:t>
            </a:r>
            <a:r>
              <a:rPr lang="de-AT" dirty="0" smtClean="0"/>
              <a:t> AIM Framewor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AIM </a:t>
            </a:r>
            <a:r>
              <a:rPr lang="en-GB" b="1" dirty="0"/>
              <a:t>Training </a:t>
            </a:r>
            <a:r>
              <a:rPr lang="en-GB" dirty="0" err="1"/>
              <a:t>Frequentis</a:t>
            </a:r>
            <a:r>
              <a:rPr lang="en-GB" dirty="0"/>
              <a:t> provides training, in many cases with it’s subsidiary </a:t>
            </a:r>
            <a:r>
              <a:rPr lang="en-GB" dirty="0" err="1"/>
              <a:t>GroupEAD</a:t>
            </a:r>
            <a:r>
              <a:rPr lang="en-GB" dirty="0"/>
              <a:t>, but also directly (e.g. for Charting, AIP or AIM system operation) </a:t>
            </a:r>
          </a:p>
          <a:p>
            <a:r>
              <a:rPr lang="en-GB" b="1" dirty="0" smtClean="0"/>
              <a:t>Operational </a:t>
            </a:r>
            <a:r>
              <a:rPr lang="en-GB" b="1" dirty="0" err="1"/>
              <a:t>Support</a:t>
            </a:r>
            <a:r>
              <a:rPr lang="en-GB" dirty="0" err="1"/>
              <a:t>Frequentis</a:t>
            </a:r>
            <a:r>
              <a:rPr lang="en-GB" dirty="0"/>
              <a:t> offers initial support in the phase from acceptance to cut-over and beyond </a:t>
            </a:r>
          </a:p>
          <a:p>
            <a:r>
              <a:rPr lang="en-GB" b="1" dirty="0" smtClean="0"/>
              <a:t>24/7 </a:t>
            </a:r>
            <a:r>
              <a:rPr lang="en-GB" dirty="0" err="1"/>
              <a:t>Frequentis</a:t>
            </a:r>
            <a:r>
              <a:rPr lang="en-GB" dirty="0"/>
              <a:t> offers 24/7 Helpdesk services for it’s AIM customers </a:t>
            </a:r>
          </a:p>
          <a:p>
            <a:r>
              <a:rPr lang="en-GB" b="1" dirty="0" smtClean="0"/>
              <a:t>Error/Incident </a:t>
            </a:r>
            <a:r>
              <a:rPr lang="en-GB" b="1" dirty="0"/>
              <a:t>Reporting and Change Management </a:t>
            </a:r>
            <a:r>
              <a:rPr lang="en-GB" dirty="0" err="1"/>
              <a:t>Frequentis</a:t>
            </a:r>
            <a:r>
              <a:rPr lang="en-GB" dirty="0"/>
              <a:t> provides an online platform for it’s customers for incident and error management as well as for change management </a:t>
            </a:r>
          </a:p>
          <a:p>
            <a:r>
              <a:rPr lang="en-GB" b="1" dirty="0" smtClean="0"/>
              <a:t>AIM </a:t>
            </a:r>
            <a:r>
              <a:rPr lang="en-GB" b="1" dirty="0"/>
              <a:t>Consulting Services </a:t>
            </a:r>
            <a:r>
              <a:rPr lang="en-GB" dirty="0" err="1"/>
              <a:t>Frequentis</a:t>
            </a:r>
            <a:r>
              <a:rPr lang="en-GB" dirty="0"/>
              <a:t> </a:t>
            </a:r>
            <a:r>
              <a:rPr lang="en-GB" dirty="0" smtClean="0"/>
              <a:t>offers AIM consulting services from its daughter company TEA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4560904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The </a:t>
            </a:r>
            <a:r>
              <a:rPr lang="de-AT" dirty="0" err="1" smtClean="0"/>
              <a:t>Frequentis</a:t>
            </a:r>
            <a:r>
              <a:rPr lang="de-AT" dirty="0" smtClean="0"/>
              <a:t> AIM Framewor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Safety </a:t>
            </a:r>
            <a:r>
              <a:rPr lang="en-GB" dirty="0" err="1" smtClean="0"/>
              <a:t>Frequentis</a:t>
            </a:r>
            <a:r>
              <a:rPr lang="en-GB" dirty="0" smtClean="0"/>
              <a:t> </a:t>
            </a:r>
            <a:r>
              <a:rPr lang="en-GB" dirty="0"/>
              <a:t>develops the AIM product </a:t>
            </a:r>
            <a:r>
              <a:rPr lang="en-GB" dirty="0" smtClean="0"/>
              <a:t>following modern </a:t>
            </a:r>
            <a:r>
              <a:rPr lang="en-GB" dirty="0"/>
              <a:t>development standards and is used to fulfil complex Safety Case requirements; </a:t>
            </a:r>
            <a:endParaRPr lang="en-GB" dirty="0" smtClean="0"/>
          </a:p>
          <a:p>
            <a:pPr lvl="1"/>
            <a:r>
              <a:rPr lang="en-GB" dirty="0" err="1" smtClean="0"/>
              <a:t>Frequentis</a:t>
            </a:r>
            <a:r>
              <a:rPr lang="en-GB" dirty="0" smtClean="0"/>
              <a:t> </a:t>
            </a:r>
            <a:r>
              <a:rPr lang="en-GB" dirty="0"/>
              <a:t>has </a:t>
            </a:r>
            <a:r>
              <a:rPr lang="en-GB" dirty="0" smtClean="0"/>
              <a:t>dedicated </a:t>
            </a:r>
            <a:r>
              <a:rPr lang="en-GB" dirty="0"/>
              <a:t>and certified safety engineers in the AIM team </a:t>
            </a:r>
            <a:endParaRPr lang="en-GB" dirty="0" smtClean="0"/>
          </a:p>
          <a:p>
            <a:r>
              <a:rPr lang="de-AT" b="1" dirty="0" smtClean="0"/>
              <a:t>Development </a:t>
            </a:r>
            <a:r>
              <a:rPr lang="de-AT" b="1" dirty="0" err="1" smtClean="0"/>
              <a:t>Maturity</a:t>
            </a:r>
            <a:r>
              <a:rPr lang="de-AT" dirty="0" smtClean="0"/>
              <a:t> The </a:t>
            </a:r>
            <a:r>
              <a:rPr lang="de-AT" dirty="0" err="1" smtClean="0"/>
              <a:t>development</a:t>
            </a:r>
            <a:r>
              <a:rPr lang="de-AT" dirty="0" smtClean="0"/>
              <a:t> </a:t>
            </a:r>
            <a:r>
              <a:rPr lang="de-AT" dirty="0" err="1" smtClean="0"/>
              <a:t>processes</a:t>
            </a:r>
            <a:r>
              <a:rPr lang="de-AT" dirty="0" smtClean="0"/>
              <a:t> follow </a:t>
            </a:r>
            <a:r>
              <a:rPr lang="de-AT" dirty="0" err="1" smtClean="0"/>
              <a:t>highest</a:t>
            </a:r>
            <a:r>
              <a:rPr lang="de-AT" dirty="0" smtClean="0"/>
              <a:t> </a:t>
            </a:r>
            <a:r>
              <a:rPr lang="de-AT" dirty="0" err="1" smtClean="0"/>
              <a:t>standards</a:t>
            </a:r>
            <a:r>
              <a:rPr lang="de-AT" dirty="0" smtClean="0"/>
              <a:t> </a:t>
            </a:r>
            <a:r>
              <a:rPr lang="de-AT" dirty="0" err="1" smtClean="0"/>
              <a:t>and</a:t>
            </a:r>
            <a:r>
              <a:rPr lang="de-AT" dirty="0" smtClean="0"/>
              <a:t> </a:t>
            </a:r>
            <a:r>
              <a:rPr lang="de-AT" dirty="0" err="1" smtClean="0"/>
              <a:t>are</a:t>
            </a:r>
            <a:r>
              <a:rPr lang="de-AT" dirty="0" smtClean="0"/>
              <a:t> </a:t>
            </a:r>
            <a:r>
              <a:rPr lang="de-AT" dirty="0" err="1" smtClean="0"/>
              <a:t>compliant</a:t>
            </a:r>
            <a:r>
              <a:rPr lang="de-AT" dirty="0" smtClean="0"/>
              <a:t> </a:t>
            </a:r>
            <a:r>
              <a:rPr lang="de-AT" dirty="0" err="1" smtClean="0"/>
              <a:t>with</a:t>
            </a:r>
            <a:r>
              <a:rPr lang="de-AT" dirty="0" smtClean="0"/>
              <a:t> </a:t>
            </a:r>
            <a:r>
              <a:rPr lang="de-AT" dirty="0" err="1" smtClean="0"/>
              <a:t>the</a:t>
            </a:r>
            <a:r>
              <a:rPr lang="de-AT" dirty="0" smtClean="0"/>
              <a:t> Software Assurance Levels (SWAL) </a:t>
            </a:r>
            <a:r>
              <a:rPr lang="de-AT" dirty="0" err="1" smtClean="0"/>
              <a:t>required</a:t>
            </a:r>
            <a:r>
              <a:rPr lang="de-AT" dirty="0" smtClean="0"/>
              <a:t> </a:t>
            </a:r>
            <a:r>
              <a:rPr lang="de-AT" dirty="0" err="1" smtClean="0"/>
              <a:t>for</a:t>
            </a:r>
            <a:r>
              <a:rPr lang="de-AT" dirty="0" smtClean="0"/>
              <a:t> AIM</a:t>
            </a:r>
            <a:endParaRPr lang="en-GB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0922431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Highligh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1800" b="1" dirty="0" smtClean="0"/>
              <a:t>Only </a:t>
            </a:r>
            <a:r>
              <a:rPr lang="en-GB" sz="1800" b="1" dirty="0"/>
              <a:t>Regional AIM Solution in the market </a:t>
            </a:r>
            <a:r>
              <a:rPr lang="en-GB" sz="1800" dirty="0"/>
              <a:t>The </a:t>
            </a:r>
            <a:r>
              <a:rPr lang="en-GB" sz="1800" dirty="0" err="1"/>
              <a:t>Frequentis</a:t>
            </a:r>
            <a:r>
              <a:rPr lang="en-GB" sz="1800" dirty="0"/>
              <a:t> </a:t>
            </a:r>
            <a:r>
              <a:rPr lang="en-GB" sz="1800" dirty="0" err="1"/>
              <a:t>smartAIM</a:t>
            </a:r>
            <a:r>
              <a:rPr lang="en-GB" sz="1800" dirty="0"/>
              <a:t> has initially been designed for the shared use by several ANSP’s and other customers and separates responsibilities between the ANSP’s by it’s functionality </a:t>
            </a:r>
          </a:p>
          <a:p>
            <a:r>
              <a:rPr lang="en-GB" sz="1800" b="1" dirty="0" smtClean="0"/>
              <a:t>Proven </a:t>
            </a:r>
            <a:r>
              <a:rPr lang="en-GB" sz="1800" b="1" dirty="0"/>
              <a:t>Concept </a:t>
            </a:r>
            <a:r>
              <a:rPr lang="en-GB" sz="1800" dirty="0"/>
              <a:t>It is a proven fact that the </a:t>
            </a:r>
            <a:r>
              <a:rPr lang="en-GB" sz="1800" dirty="0" err="1"/>
              <a:t>smartAIM</a:t>
            </a:r>
            <a:r>
              <a:rPr lang="en-GB" sz="1800" dirty="0"/>
              <a:t> solution can serve a regional concept (EAD is the best showcase) </a:t>
            </a:r>
          </a:p>
          <a:p>
            <a:r>
              <a:rPr lang="en-GB" sz="1800" b="1" dirty="0" smtClean="0"/>
              <a:t>Large </a:t>
            </a:r>
            <a:r>
              <a:rPr lang="en-GB" sz="1800" b="1" dirty="0"/>
              <a:t>AIM Framework </a:t>
            </a:r>
            <a:r>
              <a:rPr lang="en-GB" sz="1800" dirty="0" err="1"/>
              <a:t>Frequentis</a:t>
            </a:r>
            <a:r>
              <a:rPr lang="en-GB" sz="1800" dirty="0"/>
              <a:t> can not only deliver an AIM platform but can provide a large AIM Framework including, solutions, operations and services, training and also experience in contracting and legal issues. </a:t>
            </a:r>
          </a:p>
          <a:p>
            <a:r>
              <a:rPr lang="en-GB" sz="1800" b="1" dirty="0" smtClean="0"/>
              <a:t>Target </a:t>
            </a:r>
            <a:r>
              <a:rPr lang="en-GB" sz="1800" b="1" dirty="0"/>
              <a:t>Global AIM Network </a:t>
            </a:r>
            <a:r>
              <a:rPr lang="en-GB" sz="1800" dirty="0"/>
              <a:t>The </a:t>
            </a:r>
            <a:r>
              <a:rPr lang="en-GB" sz="1800" dirty="0" err="1"/>
              <a:t>Frequentis</a:t>
            </a:r>
            <a:r>
              <a:rPr lang="en-GB" sz="1800" dirty="0"/>
              <a:t> concept aims at the global integration of large AIM data repository, automatic data exchange in-between them and provision of services based on high-quality global AIM data. That is unique </a:t>
            </a:r>
          </a:p>
          <a:p>
            <a:endParaRPr lang="en-GB" sz="1800" dirty="0"/>
          </a:p>
        </p:txBody>
      </p:sp>
    </p:spTree>
    <p:extLst>
      <p:ext uri="{BB962C8B-B14F-4D97-AF65-F5344CB8AC3E}">
        <p14:creationId xmlns:p14="http://schemas.microsoft.com/office/powerpoint/2010/main" val="3887701010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Highligh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Integration </a:t>
            </a:r>
            <a:r>
              <a:rPr lang="en-GB" b="1" dirty="0"/>
              <a:t>between large AIM data repositories </a:t>
            </a:r>
            <a:r>
              <a:rPr lang="en-GB" dirty="0"/>
              <a:t>The </a:t>
            </a:r>
            <a:r>
              <a:rPr lang="en-GB" dirty="0" err="1"/>
              <a:t>Frequentis</a:t>
            </a:r>
            <a:r>
              <a:rPr lang="en-GB" dirty="0"/>
              <a:t> </a:t>
            </a:r>
            <a:r>
              <a:rPr lang="en-GB" dirty="0" err="1"/>
              <a:t>smartAIM</a:t>
            </a:r>
            <a:r>
              <a:rPr lang="en-GB" dirty="0"/>
              <a:t> solution is not only unique as it provides the capability of shared regional use of an AIM solution but also because it has proven in </a:t>
            </a:r>
            <a:r>
              <a:rPr lang="en-GB" dirty="0" smtClean="0"/>
              <a:t>practice </a:t>
            </a:r>
            <a:r>
              <a:rPr lang="en-GB" dirty="0"/>
              <a:t>that it is possible to connect large “AIM data Hubs” and exchange data automatically (examples: EAD and </a:t>
            </a:r>
            <a:r>
              <a:rPr lang="en-GB" dirty="0" err="1"/>
              <a:t>NavCanada</a:t>
            </a:r>
            <a:r>
              <a:rPr lang="en-GB" dirty="0"/>
              <a:t>, South Africa and others</a:t>
            </a:r>
            <a:r>
              <a:rPr lang="en-GB" dirty="0" smtClean="0"/>
              <a:t>)</a:t>
            </a:r>
            <a:endParaRPr lang="en-GB" dirty="0"/>
          </a:p>
          <a:p>
            <a:r>
              <a:rPr lang="en-GB" b="1" dirty="0" smtClean="0"/>
              <a:t>Integration </a:t>
            </a:r>
            <a:r>
              <a:rPr lang="en-GB" b="1" dirty="0"/>
              <a:t>of Regional AIM Hubs and systems of different suppliers </a:t>
            </a:r>
            <a:r>
              <a:rPr lang="en-GB" dirty="0"/>
              <a:t>The </a:t>
            </a:r>
            <a:r>
              <a:rPr lang="en-GB" dirty="0" err="1"/>
              <a:t>Frequentis</a:t>
            </a:r>
            <a:r>
              <a:rPr lang="en-GB" dirty="0"/>
              <a:t> regional </a:t>
            </a:r>
            <a:r>
              <a:rPr lang="en-GB" dirty="0" err="1"/>
              <a:t>smartAIM</a:t>
            </a:r>
            <a:r>
              <a:rPr lang="en-GB" dirty="0"/>
              <a:t> solution is able to integrate AIM solutions of other suppliers. That has been proven by the “</a:t>
            </a:r>
            <a:r>
              <a:rPr lang="en-GB" dirty="0" err="1"/>
              <a:t>MyEAD</a:t>
            </a:r>
            <a:r>
              <a:rPr lang="en-GB" dirty="0"/>
              <a:t>” concept in Europe. That has not been done elsewhere so far</a:t>
            </a:r>
            <a:r>
              <a:rPr lang="en-GB" dirty="0" smtClean="0"/>
              <a:t>. The </a:t>
            </a:r>
            <a:r>
              <a:rPr lang="en-GB" dirty="0"/>
              <a:t>integration will be improved by the introduction of SWIM adapters. 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1247017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Global </a:t>
            </a:r>
            <a:r>
              <a:rPr lang="de-AT" dirty="0" err="1" smtClean="0"/>
              <a:t>smartAI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913284"/>
            <a:ext cx="8461530" cy="42484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73768035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smartAIM</a:t>
            </a:r>
            <a:r>
              <a:rPr lang="de-AT" dirty="0" smtClean="0"/>
              <a:t> </a:t>
            </a:r>
            <a:r>
              <a:rPr lang="de-AT" dirty="0" err="1" smtClean="0"/>
              <a:t>Architecture</a:t>
            </a:r>
            <a:r>
              <a:rPr lang="de-AT" dirty="0" smtClean="0"/>
              <a:t> </a:t>
            </a:r>
            <a:r>
              <a:rPr lang="de-AT" dirty="0" err="1" smtClean="0"/>
              <a:t>Overview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13314" name="Picture 2" descr="D:\sales\folders\illustration\illustration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644"/>
            <a:ext cx="9144000" cy="56957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731349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err="1" smtClean="0"/>
              <a:t>smartAIM</a:t>
            </a:r>
            <a:r>
              <a:rPr lang="de-AT" dirty="0" smtClean="0"/>
              <a:t> </a:t>
            </a:r>
            <a:r>
              <a:rPr lang="de-AT" dirty="0" err="1" smtClean="0"/>
              <a:t>Functional</a:t>
            </a:r>
            <a:r>
              <a:rPr lang="de-AT" dirty="0" smtClean="0"/>
              <a:t> </a:t>
            </a:r>
            <a:r>
              <a:rPr lang="de-AT" dirty="0" err="1" smtClean="0"/>
              <a:t>blocks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indent="-36000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8434" name="Picture 2" descr="D:\sales\folders\smart_aim_logos\smartAIM_Logo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921396"/>
            <a:ext cx="3642252" cy="2358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34791624"/>
              </p:ext>
            </p:extLst>
          </p:nvPr>
        </p:nvGraphicFramePr>
        <p:xfrm>
          <a:off x="2483768" y="841276"/>
          <a:ext cx="6436395" cy="44644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indent="-36000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indent="-36000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354662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3289548"/>
            <a:ext cx="2880320" cy="203410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216" y="2402521"/>
            <a:ext cx="2448273" cy="15121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Short Term Information Managemen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879352"/>
            <a:ext cx="8309201" cy="1906140"/>
          </a:xfrm>
        </p:spPr>
        <p:txBody>
          <a:bodyPr/>
          <a:lstStyle/>
          <a:p>
            <a:r>
              <a:rPr lang="de-AT" sz="1500" dirty="0" smtClean="0"/>
              <a:t>NOTAM / Digital NOTAM – AIXM: </a:t>
            </a:r>
            <a:r>
              <a:rPr lang="de-AT" sz="1500" dirty="0" err="1" smtClean="0"/>
              <a:t>smartINMO</a:t>
            </a:r>
            <a:r>
              <a:rPr lang="de-AT" sz="1500" dirty="0" smtClean="0"/>
              <a:t> – NOTAM Management</a:t>
            </a:r>
          </a:p>
          <a:p>
            <a:r>
              <a:rPr lang="de-AT" sz="1500" dirty="0" err="1" smtClean="0"/>
              <a:t>Weather</a:t>
            </a:r>
            <a:r>
              <a:rPr lang="de-AT" sz="1500" dirty="0" smtClean="0"/>
              <a:t> – WXXM: </a:t>
            </a:r>
            <a:r>
              <a:rPr lang="de-AT" sz="1500" dirty="0" err="1" smtClean="0"/>
              <a:t>smartWeather</a:t>
            </a:r>
            <a:endParaRPr lang="de-AT" sz="1500" dirty="0" smtClean="0"/>
          </a:p>
          <a:p>
            <a:r>
              <a:rPr lang="de-AT" sz="1500" dirty="0" smtClean="0"/>
              <a:t>Flight Plan Management – FIXM: </a:t>
            </a:r>
            <a:r>
              <a:rPr lang="de-AT" sz="1500" dirty="0" err="1" smtClean="0"/>
              <a:t>smartINMO</a:t>
            </a:r>
            <a:r>
              <a:rPr lang="de-AT" sz="1500" dirty="0" smtClean="0"/>
              <a:t> Flight Plan Management</a:t>
            </a:r>
          </a:p>
          <a:p>
            <a:r>
              <a:rPr lang="de-AT" sz="1500" dirty="0" smtClean="0"/>
              <a:t>Briefing: </a:t>
            </a:r>
            <a:r>
              <a:rPr lang="de-AT" sz="1500" dirty="0" err="1" smtClean="0"/>
              <a:t>smartINMO</a:t>
            </a:r>
            <a:r>
              <a:rPr lang="de-AT" sz="1500" dirty="0" smtClean="0"/>
              <a:t> Briefing </a:t>
            </a:r>
            <a:r>
              <a:rPr lang="de-AT" sz="1500" dirty="0" err="1" smtClean="0"/>
              <a:t>and</a:t>
            </a:r>
            <a:r>
              <a:rPr lang="de-AT" sz="1500" dirty="0" smtClean="0"/>
              <a:t> </a:t>
            </a:r>
            <a:r>
              <a:rPr lang="de-AT" sz="1500" dirty="0" err="1" smtClean="0"/>
              <a:t>smartIBS</a:t>
            </a:r>
            <a:r>
              <a:rPr lang="de-AT" sz="1500" dirty="0" smtClean="0"/>
              <a:t> (Internet Briefing)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79712" y="2383471"/>
            <a:ext cx="3744416" cy="17543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Content Placeholder 4" descr="fpl-list"/>
          <p:cNvPicPr>
            <a:picLocks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3577580"/>
            <a:ext cx="3168352" cy="1800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650133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03848" y="2330936"/>
            <a:ext cx="2921285" cy="239877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Long Term Information Management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AIXM </a:t>
            </a:r>
            <a:r>
              <a:rPr lang="de-AT" dirty="0" err="1" smtClean="0"/>
              <a:t>data</a:t>
            </a:r>
            <a:r>
              <a:rPr lang="de-AT" dirty="0" smtClean="0"/>
              <a:t> </a:t>
            </a:r>
            <a:r>
              <a:rPr lang="de-AT" dirty="0" err="1" smtClean="0"/>
              <a:t>management</a:t>
            </a:r>
            <a:r>
              <a:rPr lang="de-AT" dirty="0" smtClean="0"/>
              <a:t>: </a:t>
            </a:r>
            <a:r>
              <a:rPr lang="de-AT" dirty="0" err="1" smtClean="0"/>
              <a:t>smartDM</a:t>
            </a:r>
            <a:endParaRPr lang="de-AT" dirty="0" smtClean="0"/>
          </a:p>
          <a:p>
            <a:r>
              <a:rPr lang="de-AT" dirty="0" smtClean="0"/>
              <a:t>GIS </a:t>
            </a:r>
            <a:r>
              <a:rPr lang="de-AT" dirty="0" err="1" smtClean="0"/>
              <a:t>Visualistion</a:t>
            </a:r>
            <a:r>
              <a:rPr lang="de-AT" dirty="0" smtClean="0"/>
              <a:t>: </a:t>
            </a:r>
            <a:r>
              <a:rPr lang="de-AT" dirty="0" err="1" smtClean="0"/>
              <a:t>smartDM</a:t>
            </a:r>
            <a:r>
              <a:rPr lang="de-AT" dirty="0" smtClean="0"/>
              <a:t> GIS</a:t>
            </a:r>
          </a:p>
          <a:p>
            <a:r>
              <a:rPr lang="de-AT" dirty="0" err="1" smtClean="0"/>
              <a:t>eTOD</a:t>
            </a:r>
            <a:r>
              <a:rPr lang="de-AT" dirty="0" smtClean="0"/>
              <a:t>: </a:t>
            </a:r>
            <a:r>
              <a:rPr lang="de-AT" dirty="0" err="1" smtClean="0"/>
              <a:t>smartETOD</a:t>
            </a:r>
            <a:endParaRPr lang="en-GB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48064" y="3088820"/>
            <a:ext cx="3182441" cy="19136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334242"/>
            <a:ext cx="3639375" cy="16561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449453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Publica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err="1" smtClean="0"/>
              <a:t>Charting</a:t>
            </a:r>
            <a:r>
              <a:rPr lang="de-AT" dirty="0" smtClean="0"/>
              <a:t>: </a:t>
            </a:r>
            <a:r>
              <a:rPr lang="de-AT" dirty="0" err="1" smtClean="0"/>
              <a:t>smartCharting</a:t>
            </a:r>
            <a:endParaRPr lang="de-AT" dirty="0" smtClean="0"/>
          </a:p>
          <a:p>
            <a:r>
              <a:rPr lang="de-AT" dirty="0" smtClean="0"/>
              <a:t>AIP </a:t>
            </a:r>
            <a:r>
              <a:rPr lang="de-AT" dirty="0" err="1" smtClean="0"/>
              <a:t>Authoring</a:t>
            </a:r>
            <a:r>
              <a:rPr lang="de-AT" dirty="0" smtClean="0"/>
              <a:t>: </a:t>
            </a:r>
            <a:r>
              <a:rPr lang="de-AT" dirty="0" err="1" smtClean="0"/>
              <a:t>smartAIP</a:t>
            </a:r>
            <a:endParaRPr lang="de-AT" dirty="0" smtClean="0"/>
          </a:p>
          <a:p>
            <a:r>
              <a:rPr lang="de-AT" dirty="0" err="1" smtClean="0"/>
              <a:t>Document</a:t>
            </a:r>
            <a:r>
              <a:rPr lang="de-AT" dirty="0" smtClean="0"/>
              <a:t> Management: </a:t>
            </a:r>
            <a:r>
              <a:rPr lang="de-AT" dirty="0" err="1" smtClean="0"/>
              <a:t>smartWebClient</a:t>
            </a:r>
            <a:endParaRPr lang="en-GB" dirty="0"/>
          </a:p>
        </p:txBody>
      </p:sp>
      <p:pic>
        <p:nvPicPr>
          <p:cNvPr id="4" name="Content Placeholder 10"/>
          <p:cNvPicPr>
            <a:picLocks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24128" y="2659478"/>
            <a:ext cx="2952328" cy="223224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Content Placeholder 4"/>
          <p:cNvPicPr>
            <a:picLocks/>
          </p:cNvPicPr>
          <p:nvPr/>
        </p:nvPicPr>
        <p:blipFill rotWithShape="1">
          <a:blip r:embed="rId3" cstate="print"/>
          <a:srcRect t="5614"/>
          <a:stretch/>
        </p:blipFill>
        <p:spPr bwMode="auto">
          <a:xfrm>
            <a:off x="2339752" y="2662994"/>
            <a:ext cx="3888432" cy="19082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23528" y="2947510"/>
            <a:ext cx="2808312" cy="194421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96823836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orkflow Management – Flow </a:t>
            </a:r>
            <a:r>
              <a:rPr lang="de-AT" dirty="0" err="1" smtClean="0"/>
              <a:t>autom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AT" dirty="0" smtClean="0"/>
              <a:t>Data </a:t>
            </a:r>
            <a:r>
              <a:rPr lang="de-AT" dirty="0" err="1" smtClean="0"/>
              <a:t>chain</a:t>
            </a:r>
            <a:r>
              <a:rPr lang="de-AT" dirty="0" smtClean="0"/>
              <a:t> </a:t>
            </a:r>
            <a:r>
              <a:rPr lang="de-AT" dirty="0" err="1" smtClean="0"/>
              <a:t>automation</a:t>
            </a:r>
            <a:r>
              <a:rPr lang="de-AT" dirty="0" smtClean="0"/>
              <a:t> </a:t>
            </a:r>
            <a:r>
              <a:rPr lang="de-AT" dirty="0" err="1" smtClean="0"/>
              <a:t>from</a:t>
            </a:r>
            <a:r>
              <a:rPr lang="de-AT" dirty="0" smtClean="0"/>
              <a:t> </a:t>
            </a:r>
            <a:r>
              <a:rPr lang="de-AT" dirty="0" err="1" smtClean="0"/>
              <a:t>originator</a:t>
            </a:r>
            <a:r>
              <a:rPr lang="de-AT" dirty="0" smtClean="0"/>
              <a:t> </a:t>
            </a:r>
            <a:r>
              <a:rPr lang="de-AT" dirty="0" err="1" smtClean="0"/>
              <a:t>to</a:t>
            </a:r>
            <a:r>
              <a:rPr lang="de-AT" dirty="0" smtClean="0"/>
              <a:t> end-user: </a:t>
            </a:r>
            <a:r>
              <a:rPr lang="de-AT" dirty="0" err="1" smtClean="0"/>
              <a:t>smartWFM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 marR="0" indent="-36000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694" y="1489348"/>
            <a:ext cx="6782618" cy="168920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5816" y="2949178"/>
            <a:ext cx="2588259" cy="22711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543877"/>
            <a:ext cx="2376264" cy="10817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120" y="2949178"/>
            <a:ext cx="2880320" cy="193271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18248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essaging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4" y="1095376"/>
            <a:ext cx="8309201" cy="970036"/>
          </a:xfrm>
        </p:spPr>
        <p:txBody>
          <a:bodyPr/>
          <a:lstStyle/>
          <a:p>
            <a:r>
              <a:rPr lang="de-AT" dirty="0" smtClean="0"/>
              <a:t>AMHS, AFTN, SWIM Gateway: </a:t>
            </a:r>
            <a:r>
              <a:rPr lang="de-AT" dirty="0" err="1" smtClean="0"/>
              <a:t>smartMessenger</a:t>
            </a:r>
            <a:endParaRPr lang="de-AT" dirty="0" smtClean="0"/>
          </a:p>
          <a:p>
            <a:endParaRPr lang="en-GB" dirty="0"/>
          </a:p>
        </p:txBody>
      </p:sp>
      <p:pic>
        <p:nvPicPr>
          <p:cNvPr id="4" name="Content Placeholder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584" y="1633364"/>
            <a:ext cx="3475856" cy="27827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920" y="2209428"/>
            <a:ext cx="4104456" cy="27363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50913818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Who </a:t>
            </a:r>
            <a:r>
              <a:rPr lang="de-AT" dirty="0" err="1" smtClean="0"/>
              <a:t>is</a:t>
            </a:r>
            <a:r>
              <a:rPr lang="de-AT" dirty="0" smtClean="0"/>
              <a:t> </a:t>
            </a:r>
            <a:r>
              <a:rPr lang="de-AT" dirty="0" err="1" smtClean="0"/>
              <a:t>Frequenti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608950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200" dirty="0"/>
              <a:t>More </a:t>
            </a:r>
            <a:r>
              <a:rPr lang="de-DE" sz="2200" dirty="0" err="1"/>
              <a:t>than</a:t>
            </a:r>
            <a:r>
              <a:rPr lang="de-DE" sz="2200" dirty="0"/>
              <a:t> 65 </a:t>
            </a:r>
            <a:r>
              <a:rPr lang="de-DE" sz="2200" dirty="0" err="1"/>
              <a:t>years</a:t>
            </a:r>
            <a:r>
              <a:rPr lang="de-DE" sz="2200" dirty="0"/>
              <a:t> of </a:t>
            </a:r>
            <a:r>
              <a:rPr lang="de-DE" sz="2200" dirty="0" err="1"/>
              <a:t>innovation</a:t>
            </a:r>
            <a:r>
              <a:rPr lang="de-DE" sz="2200" dirty="0"/>
              <a:t> &amp; </a:t>
            </a:r>
            <a:r>
              <a:rPr lang="de-DE" sz="2200" dirty="0" err="1"/>
              <a:t>expertise</a:t>
            </a:r>
            <a:r>
              <a:rPr lang="de-DE" sz="2200" dirty="0"/>
              <a:t> in </a:t>
            </a:r>
            <a:r>
              <a:rPr lang="de-DE" sz="2200" dirty="0" err="1"/>
              <a:t>mission</a:t>
            </a:r>
            <a:r>
              <a:rPr lang="de-DE" sz="2200" dirty="0"/>
              <a:t> </a:t>
            </a:r>
            <a:r>
              <a:rPr lang="de-DE" sz="2200" dirty="0" err="1"/>
              <a:t>critical</a:t>
            </a:r>
            <a:r>
              <a:rPr lang="de-DE" sz="2200" dirty="0"/>
              <a:t> </a:t>
            </a:r>
            <a:r>
              <a:rPr lang="de-DE" sz="2200" dirty="0" err="1"/>
              <a:t>applications</a:t>
            </a:r>
            <a:endParaRPr lang="en-GB" sz="2200" dirty="0"/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800820" y="1017296"/>
            <a:ext cx="7777162" cy="566309"/>
          </a:xfrm>
          <a:prstGeom prst="rect">
            <a:avLst/>
          </a:prstGeom>
          <a:solidFill>
            <a:srgbClr val="99CCFF"/>
          </a:solidFill>
          <a:ln w="12700" algn="ctr">
            <a:solidFill>
              <a:srgbClr val="99CCFF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>
              <a:lnSpc>
                <a:spcPct val="110000"/>
              </a:lnSpc>
            </a:pPr>
            <a:r>
              <a:rPr lang="en-GB" sz="1400" dirty="0"/>
              <a:t>We develop and market high reliable communication and </a:t>
            </a:r>
            <a:r>
              <a:rPr lang="en-GB" sz="1400" dirty="0" smtClean="0"/>
              <a:t>information </a:t>
            </a:r>
            <a:r>
              <a:rPr lang="en-GB" sz="1400" dirty="0"/>
              <a:t>systems for mission critical applications </a:t>
            </a:r>
            <a:r>
              <a:rPr lang="en-GB" sz="1400" dirty="0" smtClean="0"/>
              <a:t>in </a:t>
            </a:r>
            <a:r>
              <a:rPr lang="en-GB" sz="1400" dirty="0"/>
              <a:t>the fields of  Air Traffic Management and Public Safety &amp; Transport.</a:t>
            </a:r>
            <a:endParaRPr lang="de-AT" sz="1400" dirty="0"/>
          </a:p>
        </p:txBody>
      </p:sp>
      <p:sp>
        <p:nvSpPr>
          <p:cNvPr id="6" name="Rectangle 4"/>
          <p:cNvSpPr>
            <a:spLocks noChangeArrowheads="1"/>
          </p:cNvSpPr>
          <p:nvPr/>
        </p:nvSpPr>
        <p:spPr bwMode="auto">
          <a:xfrm>
            <a:off x="755576" y="4742657"/>
            <a:ext cx="7848600" cy="374386"/>
          </a:xfrm>
          <a:prstGeom prst="rect">
            <a:avLst/>
          </a:prstGeom>
          <a:solidFill>
            <a:srgbClr val="99CCFF"/>
          </a:solidFill>
          <a:ln w="50800">
            <a:solidFill>
              <a:srgbClr val="99CCFF"/>
            </a:solidFill>
            <a:miter lim="800000"/>
            <a:headEnd/>
            <a:tailEnd/>
          </a:ln>
        </p:spPr>
        <p:txBody>
          <a:bodyPr lIns="90488" tIns="44450" rIns="90488" bIns="44450" anchor="ctr"/>
          <a:lstStyle/>
          <a:p>
            <a:pPr algn="ctr" eaLnBrk="1" hangingPunct="1">
              <a:spcBef>
                <a:spcPct val="25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 sz="1400" b="1"/>
              <a:t>Worldwide Control Centres develop towards the same standards.</a:t>
            </a:r>
          </a:p>
        </p:txBody>
      </p:sp>
      <p:sp>
        <p:nvSpPr>
          <p:cNvPr id="24" name="AutoShape 2"/>
          <p:cNvSpPr>
            <a:spLocks noChangeArrowheads="1"/>
          </p:cNvSpPr>
          <p:nvPr/>
        </p:nvSpPr>
        <p:spPr bwMode="auto">
          <a:xfrm rot="10800000">
            <a:off x="1695452" y="2692414"/>
            <a:ext cx="6361113" cy="733663"/>
          </a:xfrm>
          <a:prstGeom prst="triangle">
            <a:avLst>
              <a:gd name="adj" fmla="val 49986"/>
            </a:avLst>
          </a:prstGeom>
          <a:solidFill>
            <a:srgbClr val="C0C0C0"/>
          </a:solidFill>
          <a:ln w="38100" algn="ctr">
            <a:solidFill>
              <a:srgbClr val="C0C0C0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eaLnBrk="1" hangingPunct="1"/>
            <a:endParaRPr lang="en-GB"/>
          </a:p>
        </p:txBody>
      </p:sp>
      <p:pic>
        <p:nvPicPr>
          <p:cNvPr id="25" name="Picture 6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1546226" y="1787260"/>
            <a:ext cx="2804571" cy="4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75140" y="1787260"/>
            <a:ext cx="4254857" cy="40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Rectangle 7"/>
          <p:cNvSpPr>
            <a:spLocks noChangeArrowheads="1"/>
          </p:cNvSpPr>
          <p:nvPr/>
        </p:nvSpPr>
        <p:spPr bwMode="auto">
          <a:xfrm>
            <a:off x="2721082" y="1828271"/>
            <a:ext cx="306174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de-AT" sz="1100" b="1" dirty="0">
                <a:solidFill>
                  <a:srgbClr val="FFFFFF"/>
                </a:solidFill>
              </a:rPr>
              <a:t>ATM</a:t>
            </a:r>
            <a:endParaRPr lang="de-AT" dirty="0"/>
          </a:p>
        </p:txBody>
      </p:sp>
      <p:sp>
        <p:nvSpPr>
          <p:cNvPr id="28" name="Rectangle 8"/>
          <p:cNvSpPr>
            <a:spLocks noChangeArrowheads="1"/>
          </p:cNvSpPr>
          <p:nvPr/>
        </p:nvSpPr>
        <p:spPr bwMode="auto">
          <a:xfrm>
            <a:off x="2100636" y="1992314"/>
            <a:ext cx="156453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de-AT" sz="1100" b="1" dirty="0">
                <a:solidFill>
                  <a:srgbClr val="FFFFFF"/>
                </a:solidFill>
              </a:rPr>
              <a:t>Air Traffic Management</a:t>
            </a:r>
            <a:endParaRPr lang="de-AT" dirty="0"/>
          </a:p>
        </p:txBody>
      </p:sp>
      <p:sp>
        <p:nvSpPr>
          <p:cNvPr id="29" name="Rectangle 10"/>
          <p:cNvSpPr>
            <a:spLocks noChangeArrowheads="1"/>
          </p:cNvSpPr>
          <p:nvPr/>
        </p:nvSpPr>
        <p:spPr bwMode="auto">
          <a:xfrm>
            <a:off x="6298513" y="1828271"/>
            <a:ext cx="275717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de-AT" sz="1100" b="1">
                <a:solidFill>
                  <a:srgbClr val="FFFFFF"/>
                </a:solidFill>
              </a:rPr>
              <a:t>PST</a:t>
            </a:r>
            <a:endParaRPr lang="de-AT"/>
          </a:p>
        </p:txBody>
      </p:sp>
      <p:sp>
        <p:nvSpPr>
          <p:cNvPr id="30" name="Rectangle 11"/>
          <p:cNvSpPr>
            <a:spLocks noChangeArrowheads="1"/>
          </p:cNvSpPr>
          <p:nvPr/>
        </p:nvSpPr>
        <p:spPr bwMode="auto">
          <a:xfrm>
            <a:off x="5585076" y="1992314"/>
            <a:ext cx="172322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de-AT" sz="1100" b="1" dirty="0">
                <a:solidFill>
                  <a:srgbClr val="FFFFFF"/>
                </a:solidFill>
              </a:rPr>
              <a:t>Public </a:t>
            </a:r>
            <a:r>
              <a:rPr lang="de-AT" sz="1100" b="1" dirty="0" err="1">
                <a:solidFill>
                  <a:srgbClr val="FFFFFF"/>
                </a:solidFill>
              </a:rPr>
              <a:t>Safety</a:t>
            </a:r>
            <a:r>
              <a:rPr lang="de-AT" sz="1100" b="1" dirty="0">
                <a:solidFill>
                  <a:srgbClr val="FFFFFF"/>
                </a:solidFill>
              </a:rPr>
              <a:t> &amp; Transport</a:t>
            </a:r>
            <a:endParaRPr lang="de-AT" dirty="0"/>
          </a:p>
        </p:txBody>
      </p:sp>
      <p:sp>
        <p:nvSpPr>
          <p:cNvPr id="31" name="Rectangle 13"/>
          <p:cNvSpPr>
            <a:spLocks noChangeArrowheads="1"/>
          </p:cNvSpPr>
          <p:nvPr/>
        </p:nvSpPr>
        <p:spPr bwMode="auto">
          <a:xfrm>
            <a:off x="1878089" y="2911741"/>
            <a:ext cx="6412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de-AT" sz="1100" b="1" dirty="0">
                <a:solidFill>
                  <a:srgbClr val="000000"/>
                </a:solidFill>
              </a:rPr>
              <a:t>ATM </a:t>
            </a:r>
            <a:r>
              <a:rPr lang="de-AT" sz="1100" b="1" dirty="0" err="1">
                <a:solidFill>
                  <a:srgbClr val="000000"/>
                </a:solidFill>
              </a:rPr>
              <a:t>Civil</a:t>
            </a:r>
            <a:endParaRPr lang="de-AT" b="1" dirty="0"/>
          </a:p>
        </p:txBody>
      </p:sp>
      <p:sp>
        <p:nvSpPr>
          <p:cNvPr id="32" name="Rectangle 14"/>
          <p:cNvSpPr>
            <a:spLocks noChangeArrowheads="1"/>
          </p:cNvSpPr>
          <p:nvPr/>
        </p:nvSpPr>
        <p:spPr bwMode="auto">
          <a:xfrm>
            <a:off x="3221556" y="2911741"/>
            <a:ext cx="54983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de-AT" sz="1100" b="1">
                <a:solidFill>
                  <a:srgbClr val="000000"/>
                </a:solidFill>
              </a:rPr>
              <a:t>Defence</a:t>
            </a:r>
            <a:endParaRPr lang="de-AT" b="1"/>
          </a:p>
        </p:txBody>
      </p:sp>
      <p:sp>
        <p:nvSpPr>
          <p:cNvPr id="33" name="Rectangle 15"/>
          <p:cNvSpPr>
            <a:spLocks noChangeArrowheads="1"/>
          </p:cNvSpPr>
          <p:nvPr/>
        </p:nvSpPr>
        <p:spPr bwMode="auto">
          <a:xfrm>
            <a:off x="4429609" y="2911741"/>
            <a:ext cx="88485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de-AT" sz="1100" b="1">
                <a:solidFill>
                  <a:srgbClr val="000000"/>
                </a:solidFill>
              </a:rPr>
              <a:t>Public Safety</a:t>
            </a:r>
            <a:endParaRPr lang="de-AT" b="1"/>
          </a:p>
        </p:txBody>
      </p:sp>
      <p:sp>
        <p:nvSpPr>
          <p:cNvPr id="34" name="Rectangle 16"/>
          <p:cNvSpPr>
            <a:spLocks noChangeArrowheads="1"/>
          </p:cNvSpPr>
          <p:nvPr/>
        </p:nvSpPr>
        <p:spPr bwMode="auto">
          <a:xfrm>
            <a:off x="5690533" y="2911741"/>
            <a:ext cx="1120499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de-AT" sz="1100" b="1">
                <a:solidFill>
                  <a:srgbClr val="000000"/>
                </a:solidFill>
              </a:rPr>
              <a:t>Public Transport</a:t>
            </a:r>
            <a:endParaRPr lang="de-AT" b="1"/>
          </a:p>
        </p:txBody>
      </p:sp>
      <p:sp>
        <p:nvSpPr>
          <p:cNvPr id="35" name="Rectangle 17"/>
          <p:cNvSpPr>
            <a:spLocks noChangeArrowheads="1"/>
          </p:cNvSpPr>
          <p:nvPr/>
        </p:nvSpPr>
        <p:spPr bwMode="auto">
          <a:xfrm>
            <a:off x="7252085" y="2911741"/>
            <a:ext cx="57708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de-AT" sz="1100" b="1">
                <a:solidFill>
                  <a:srgbClr val="000000"/>
                </a:solidFill>
              </a:rPr>
              <a:t>Maritime</a:t>
            </a:r>
            <a:endParaRPr lang="de-AT" b="1"/>
          </a:p>
        </p:txBody>
      </p:sp>
      <p:pic>
        <p:nvPicPr>
          <p:cNvPr id="36" name="Picture 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72839" y="2239711"/>
            <a:ext cx="1095375" cy="55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96973" y="2239713"/>
            <a:ext cx="1085850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493156" y="2238789"/>
            <a:ext cx="1095375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717292" y="2238788"/>
            <a:ext cx="1076325" cy="5238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941426" y="2230852"/>
            <a:ext cx="1076325" cy="547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6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987824" y="3337555"/>
            <a:ext cx="3409950" cy="1230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05834606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2133" y="241454"/>
            <a:ext cx="8362355" cy="549010"/>
          </a:xfrm>
        </p:spPr>
        <p:txBody>
          <a:bodyPr/>
          <a:lstStyle/>
          <a:p>
            <a:pPr algn="r">
              <a:lnSpc>
                <a:spcPct val="90000"/>
              </a:lnSpc>
              <a:tabLst>
                <a:tab pos="8070850" algn="r"/>
              </a:tabLst>
            </a:pPr>
            <a:r>
              <a:rPr lang="de-AT" dirty="0"/>
              <a:t>Company </a:t>
            </a:r>
            <a:r>
              <a:rPr lang="de-AT" dirty="0" err="1" smtClean="0"/>
              <a:t>Overview</a:t>
            </a:r>
            <a:r>
              <a:rPr lang="de-AT" dirty="0" smtClean="0"/>
              <a:t>  	</a:t>
            </a:r>
            <a:r>
              <a:rPr lang="de-AT" sz="1400" b="0" dirty="0" smtClean="0">
                <a:solidFill>
                  <a:srgbClr val="003399"/>
                </a:solidFill>
              </a:rPr>
              <a:t>Frequentis </a:t>
            </a:r>
            <a:r>
              <a:rPr lang="de-AT" sz="1400" b="0" dirty="0">
                <a:solidFill>
                  <a:srgbClr val="003399"/>
                </a:solidFill>
              </a:rPr>
              <a:t>Group </a:t>
            </a:r>
            <a:r>
              <a:rPr lang="de-AT" sz="1400" b="0" dirty="0" smtClean="0">
                <a:solidFill>
                  <a:srgbClr val="003399"/>
                </a:solidFill>
              </a:rPr>
              <a:t>2013</a:t>
            </a:r>
            <a:br>
              <a:rPr lang="de-AT" sz="1400" b="0" dirty="0" smtClean="0">
                <a:solidFill>
                  <a:srgbClr val="003399"/>
                </a:solidFill>
              </a:rPr>
            </a:br>
            <a:r>
              <a:rPr lang="de-AT" sz="1400" b="0" dirty="0" err="1" smtClean="0">
                <a:solidFill>
                  <a:srgbClr val="003399"/>
                </a:solidFill>
              </a:rPr>
              <a:t>preliminary</a:t>
            </a:r>
            <a:r>
              <a:rPr lang="de-AT" sz="1400" b="0" dirty="0" smtClean="0">
                <a:solidFill>
                  <a:srgbClr val="003399"/>
                </a:solidFill>
              </a:rPr>
              <a:t> </a:t>
            </a:r>
            <a:r>
              <a:rPr lang="de-AT" sz="1400" b="0" dirty="0" err="1" smtClean="0">
                <a:solidFill>
                  <a:srgbClr val="003399"/>
                </a:solidFill>
              </a:rPr>
              <a:t>figures</a:t>
            </a:r>
            <a:endParaRPr lang="en-GB" sz="1400" b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2" y="979685"/>
            <a:ext cx="8309201" cy="4166462"/>
          </a:xfrm>
        </p:spPr>
        <p:txBody>
          <a:bodyPr/>
          <a:lstStyle/>
          <a:p>
            <a:pPr>
              <a:spcBef>
                <a:spcPts val="900"/>
              </a:spcBef>
            </a:pPr>
            <a:r>
              <a:rPr lang="en-GB" sz="1600" dirty="0"/>
              <a:t>Established in 1947</a:t>
            </a:r>
          </a:p>
          <a:p>
            <a:pPr>
              <a:spcBef>
                <a:spcPts val="900"/>
              </a:spcBef>
            </a:pPr>
            <a:r>
              <a:rPr lang="en-GB" sz="1600" smtClean="0"/>
              <a:t>195 </a:t>
            </a:r>
            <a:r>
              <a:rPr lang="en-GB" sz="1600" dirty="0"/>
              <a:t>Mio. EUR Turnover </a:t>
            </a:r>
            <a:r>
              <a:rPr lang="en-GB" sz="1600" dirty="0" smtClean="0"/>
              <a:t>2013</a:t>
            </a:r>
            <a:endParaRPr lang="en-GB" sz="1600" dirty="0"/>
          </a:p>
          <a:p>
            <a:pPr>
              <a:spcBef>
                <a:spcPts val="900"/>
              </a:spcBef>
            </a:pPr>
            <a:r>
              <a:rPr lang="en-GB" sz="1600" dirty="0"/>
              <a:t>Corporate headquarters in Vienna</a:t>
            </a:r>
          </a:p>
          <a:p>
            <a:pPr lvl="1">
              <a:spcBef>
                <a:spcPts val="900"/>
              </a:spcBef>
            </a:pPr>
            <a:r>
              <a:rPr lang="en-GB" sz="1400" dirty="0"/>
              <a:t>Subsidiaries and regional offices in over 50 </a:t>
            </a:r>
            <a:r>
              <a:rPr lang="en-GB" sz="1400" dirty="0" smtClean="0"/>
              <a:t>countries</a:t>
            </a:r>
          </a:p>
          <a:p>
            <a:pPr>
              <a:spcBef>
                <a:spcPts val="900"/>
              </a:spcBef>
            </a:pPr>
            <a:r>
              <a:rPr lang="en-GB" sz="1600" dirty="0" smtClean="0"/>
              <a:t>about 1,215 Employees</a:t>
            </a:r>
          </a:p>
          <a:p>
            <a:pPr>
              <a:spcBef>
                <a:spcPts val="900"/>
              </a:spcBef>
            </a:pPr>
            <a:r>
              <a:rPr lang="en-GB" sz="1600" dirty="0" smtClean="0"/>
              <a:t>Outstanding </a:t>
            </a:r>
            <a:r>
              <a:rPr lang="en-GB" sz="1600" dirty="0"/>
              <a:t>Engineering Capacity</a:t>
            </a:r>
          </a:p>
          <a:p>
            <a:pPr lvl="1">
              <a:spcBef>
                <a:spcPts val="900"/>
              </a:spcBef>
            </a:pPr>
            <a:r>
              <a:rPr lang="en-GB" sz="1400" dirty="0"/>
              <a:t>more than 600 highly-qualified engineers (HW/SW/PM) </a:t>
            </a:r>
            <a:br>
              <a:rPr lang="en-GB" sz="1400" dirty="0"/>
            </a:br>
            <a:r>
              <a:rPr lang="en-GB" sz="1400" dirty="0"/>
              <a:t>at FREQUENTIS headquarter and </a:t>
            </a:r>
            <a:r>
              <a:rPr lang="en-GB" sz="1400" dirty="0" smtClean="0"/>
              <a:t>subsidiaries</a:t>
            </a:r>
            <a:endParaRPr lang="en-GB" sz="1400" dirty="0"/>
          </a:p>
          <a:p>
            <a:pPr>
              <a:spcBef>
                <a:spcPts val="900"/>
              </a:spcBef>
            </a:pPr>
            <a:r>
              <a:rPr lang="en-GB" sz="1600" dirty="0"/>
              <a:t>Export Quota &gt; 90%</a:t>
            </a:r>
          </a:p>
          <a:p>
            <a:pPr>
              <a:spcBef>
                <a:spcPts val="900"/>
              </a:spcBef>
            </a:pPr>
            <a:r>
              <a:rPr lang="en-GB" sz="1600" dirty="0"/>
              <a:t>R&amp;D Quota &gt; 12%</a:t>
            </a:r>
          </a:p>
          <a:p>
            <a:pPr>
              <a:spcBef>
                <a:spcPts val="900"/>
              </a:spcBef>
            </a:pPr>
            <a:endParaRPr lang="en-GB" dirty="0"/>
          </a:p>
        </p:txBody>
      </p:sp>
      <p:sp>
        <p:nvSpPr>
          <p:cNvPr id="5" name="Rectangle 6"/>
          <p:cNvSpPr>
            <a:spLocks noChangeArrowheads="1"/>
          </p:cNvSpPr>
          <p:nvPr/>
        </p:nvSpPr>
        <p:spPr bwMode="auto">
          <a:xfrm>
            <a:off x="6429377" y="1892488"/>
            <a:ext cx="2411413" cy="338554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r" eaLnBrk="1" hangingPunct="1"/>
            <a:r>
              <a:rPr lang="en-GB" sz="800" dirty="0"/>
              <a:t>First Air Traffic Control System in Austria,</a:t>
            </a:r>
            <a:br>
              <a:rPr lang="en-GB" sz="800" dirty="0"/>
            </a:br>
            <a:r>
              <a:rPr lang="en-GB" sz="800" dirty="0"/>
              <a:t>Vienna / </a:t>
            </a:r>
            <a:r>
              <a:rPr lang="en-GB" sz="800" dirty="0" err="1"/>
              <a:t>Schwechat</a:t>
            </a:r>
            <a:r>
              <a:rPr lang="en-GB" sz="800" dirty="0"/>
              <a:t>, 1955</a:t>
            </a:r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6673850" y="3157533"/>
            <a:ext cx="2160588" cy="33855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/>
            <a:r>
              <a:rPr lang="en-GB" sz="800" dirty="0"/>
              <a:t>Breakthrough in the US: FAA Command Centre / Herndon, Virginia, 2003</a:t>
            </a: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6809634" y="4417508"/>
            <a:ext cx="2013692" cy="338554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 eaLnBrk="1" hangingPunct="1"/>
            <a:r>
              <a:rPr lang="en-GB" sz="800" dirty="0"/>
              <a:t>Company Headquarters on </a:t>
            </a:r>
            <a:r>
              <a:rPr lang="en-GB" sz="800" dirty="0" err="1"/>
              <a:t>Wienerberg</a:t>
            </a:r>
            <a:r>
              <a:rPr lang="en-GB" sz="800" dirty="0"/>
              <a:t>,</a:t>
            </a:r>
            <a:br>
              <a:rPr lang="en-GB" sz="800" dirty="0"/>
            </a:br>
            <a:r>
              <a:rPr lang="en-GB" sz="800" dirty="0"/>
              <a:t>relocation in 2006</a:t>
            </a: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971600" y="4837720"/>
            <a:ext cx="7488238" cy="420688"/>
          </a:xfrm>
          <a:prstGeom prst="rect">
            <a:avLst/>
          </a:prstGeom>
          <a:solidFill>
            <a:srgbClr val="99CCFF"/>
          </a:solidFill>
          <a:ln w="2857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>
              <a:spcBef>
                <a:spcPct val="50000"/>
              </a:spcBef>
              <a:spcAft>
                <a:spcPct val="35000"/>
              </a:spcAft>
              <a:buClr>
                <a:srgbClr val="003399"/>
              </a:buClr>
              <a:buFont typeface="Wingdings" pitchFamily="2" charset="2"/>
              <a:buNone/>
            </a:pPr>
            <a:r>
              <a:rPr lang="de-AT" sz="1600" b="1" dirty="0"/>
              <a:t>Global Market Leader in ATC </a:t>
            </a:r>
            <a:r>
              <a:rPr lang="de-AT" sz="1600" b="1"/>
              <a:t>Voice </a:t>
            </a:r>
            <a:r>
              <a:rPr lang="de-AT" sz="1600" b="1" smtClean="0"/>
              <a:t>Communication Systems</a:t>
            </a:r>
            <a:endParaRPr lang="de-AT" sz="1600" b="1" dirty="0"/>
          </a:p>
        </p:txBody>
      </p:sp>
      <p:pic>
        <p:nvPicPr>
          <p:cNvPr id="12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70277" y="1084276"/>
            <a:ext cx="1478188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67931" y="2284410"/>
            <a:ext cx="1461485" cy="849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36297" y="3544548"/>
            <a:ext cx="1461485" cy="873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Box 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611995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AT" dirty="0" smtClean="0"/>
              <a:t>FREQUENTIS Group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7" name="Text Box 96"/>
          <p:cNvSpPr txBox="1">
            <a:spLocks noChangeArrowheads="1"/>
          </p:cNvSpPr>
          <p:nvPr/>
        </p:nvSpPr>
        <p:spPr bwMode="auto">
          <a:xfrm>
            <a:off x="5761473" y="4150950"/>
            <a:ext cx="711733" cy="21544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solidFill>
                  <a:srgbClr val="000000"/>
                </a:solidFill>
              </a:rPr>
              <a:t>simplified scheme</a:t>
            </a:r>
          </a:p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700" dirty="0" smtClean="0">
                <a:solidFill>
                  <a:srgbClr val="000000"/>
                </a:solidFill>
              </a:rPr>
              <a:t>*) sister company</a:t>
            </a:r>
            <a:endParaRPr lang="en-GB" sz="700" dirty="0">
              <a:solidFill>
                <a:srgbClr val="00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842" y="861787"/>
            <a:ext cx="5325630" cy="4240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9" name="Rectangle 3"/>
          <p:cNvSpPr>
            <a:spLocks noChangeArrowheads="1"/>
          </p:cNvSpPr>
          <p:nvPr/>
        </p:nvSpPr>
        <p:spPr bwMode="auto">
          <a:xfrm>
            <a:off x="4716017" y="4482259"/>
            <a:ext cx="4189837" cy="619999"/>
          </a:xfrm>
          <a:prstGeom prst="rect">
            <a:avLst/>
          </a:prstGeom>
          <a:solidFill>
            <a:srgbClr val="99CCFF"/>
          </a:solidFill>
          <a:ln w="50800" algn="ctr">
            <a:solidFill>
              <a:srgbClr val="99CCFF"/>
            </a:solidFill>
            <a:miter lim="800000"/>
            <a:headEnd/>
            <a:tailEnd/>
          </a:ln>
        </p:spPr>
        <p:txBody>
          <a:bodyPr lIns="90488" tIns="44450" rIns="90488" bIns="44450" anchor="ctr"/>
          <a:lstStyle/>
          <a:p>
            <a:pPr marL="450850" indent="-450850" algn="ctr" fontAlgn="base">
              <a:spcBef>
                <a:spcPct val="50000"/>
              </a:spcBef>
              <a:spcAft>
                <a:spcPct val="35000"/>
              </a:spcAft>
              <a:buClr>
                <a:srgbClr val="808080"/>
              </a:buClr>
              <a:buFont typeface="Wingdings" pitchFamily="2" charset="2"/>
              <a:buNone/>
            </a:pPr>
            <a:r>
              <a:rPr lang="en-US" sz="1400" b="1" dirty="0">
                <a:solidFill>
                  <a:srgbClr val="000000"/>
                </a:solidFill>
              </a:rPr>
              <a:t>Global network of subsidiaries, offices and representatives in over 50 countries.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67531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09"/>
          <a:stretch/>
        </p:blipFill>
        <p:spPr bwMode="auto">
          <a:xfrm>
            <a:off x="1037212" y="1370268"/>
            <a:ext cx="7377113" cy="33855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smtClean="0"/>
              <a:t>Development Operating Performance &amp; Employees</a:t>
            </a:r>
          </a:p>
        </p:txBody>
      </p:sp>
      <p:sp>
        <p:nvSpPr>
          <p:cNvPr id="1039" name="Rectangle 27"/>
          <p:cNvSpPr>
            <a:spLocks noChangeArrowheads="1"/>
          </p:cNvSpPr>
          <p:nvPr/>
        </p:nvSpPr>
        <p:spPr bwMode="auto">
          <a:xfrm>
            <a:off x="1079948" y="4837720"/>
            <a:ext cx="7377113" cy="374386"/>
          </a:xfrm>
          <a:prstGeom prst="rect">
            <a:avLst/>
          </a:prstGeom>
          <a:solidFill>
            <a:srgbClr val="99CCFF"/>
          </a:solidFill>
          <a:ln w="50800" algn="ctr">
            <a:solidFill>
              <a:srgbClr val="99CCFF"/>
            </a:solidFill>
            <a:miter lim="800000"/>
            <a:headEnd/>
            <a:tailEnd/>
          </a:ln>
        </p:spPr>
        <p:txBody>
          <a:bodyPr lIns="90488" tIns="44450" rIns="90488" bIns="44450" anchor="ctr"/>
          <a:lstStyle/>
          <a:p>
            <a:pPr marL="450850" indent="-450850" algn="ctr">
              <a:lnSpc>
                <a:spcPct val="105000"/>
              </a:lnSpc>
              <a:spcBef>
                <a:spcPct val="20000"/>
              </a:spcBef>
              <a:spcAft>
                <a:spcPct val="20000"/>
              </a:spcAft>
              <a:buClr>
                <a:srgbClr val="808080"/>
              </a:buClr>
              <a:buSzPct val="110000"/>
              <a:buFont typeface="Wingdings" pitchFamily="2" charset="2"/>
              <a:buNone/>
            </a:pPr>
            <a:r>
              <a:rPr lang="en-GB" sz="1400" b="1" dirty="0">
                <a:solidFill>
                  <a:srgbClr val="000000"/>
                </a:solidFill>
              </a:rPr>
              <a:t>Continued sustainable growth over more than </a:t>
            </a:r>
            <a:r>
              <a:rPr lang="en-GB" sz="1400" b="1" dirty="0" smtClean="0">
                <a:solidFill>
                  <a:srgbClr val="000000"/>
                </a:solidFill>
              </a:rPr>
              <a:t>25 </a:t>
            </a:r>
            <a:r>
              <a:rPr lang="en-GB" sz="1400" b="1" dirty="0">
                <a:solidFill>
                  <a:srgbClr val="000000"/>
                </a:solidFill>
              </a:rPr>
              <a:t>years. </a:t>
            </a:r>
          </a:p>
        </p:txBody>
      </p:sp>
      <p:sp>
        <p:nvSpPr>
          <p:cNvPr id="55" name="Rectangle 4"/>
          <p:cNvSpPr>
            <a:spLocks noChangeArrowheads="1"/>
          </p:cNvSpPr>
          <p:nvPr/>
        </p:nvSpPr>
        <p:spPr bwMode="auto">
          <a:xfrm rot="16200000">
            <a:off x="-705113" y="3817485"/>
            <a:ext cx="215636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GB" sz="1000" dirty="0" smtClean="0">
                <a:solidFill>
                  <a:srgbClr val="000000"/>
                </a:solidFill>
              </a:rPr>
              <a:t>(preliminary figures as of: 02/2014)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56" name="Text Box 6"/>
          <p:cNvSpPr txBox="1">
            <a:spLocks noChangeArrowheads="1"/>
          </p:cNvSpPr>
          <p:nvPr/>
        </p:nvSpPr>
        <p:spPr bwMode="auto">
          <a:xfrm rot="16200000">
            <a:off x="1799249" y="1707417"/>
            <a:ext cx="441146" cy="2462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DFS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57" name="Text Box 7"/>
          <p:cNvSpPr txBox="1">
            <a:spLocks noChangeArrowheads="1"/>
          </p:cNvSpPr>
          <p:nvPr/>
        </p:nvSpPr>
        <p:spPr bwMode="auto">
          <a:xfrm rot="16200000">
            <a:off x="2241934" y="1542441"/>
            <a:ext cx="837088" cy="2462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smtClean="0">
                <a:solidFill>
                  <a:srgbClr val="000000"/>
                </a:solidFill>
              </a:rPr>
              <a:t>Eurocontrol</a:t>
            </a:r>
            <a:endParaRPr lang="en-GB" sz="1000">
              <a:solidFill>
                <a:srgbClr val="000000"/>
              </a:solidFill>
            </a:endParaRPr>
          </a:p>
        </p:txBody>
      </p:sp>
      <p:sp>
        <p:nvSpPr>
          <p:cNvPr id="58" name="Text Box 8"/>
          <p:cNvSpPr txBox="1">
            <a:spLocks noChangeArrowheads="1"/>
          </p:cNvSpPr>
          <p:nvPr/>
        </p:nvSpPr>
        <p:spPr bwMode="auto">
          <a:xfrm rot="16200000">
            <a:off x="2690225" y="1558795"/>
            <a:ext cx="825867" cy="2462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LACC (UK)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59" name="Text Box 9"/>
          <p:cNvSpPr txBox="1">
            <a:spLocks noChangeArrowheads="1"/>
          </p:cNvSpPr>
          <p:nvPr/>
        </p:nvSpPr>
        <p:spPr bwMode="auto">
          <a:xfrm rot="16200000">
            <a:off x="3135318" y="1551796"/>
            <a:ext cx="819455" cy="2462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Artemis (F)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60" name="Text Box 10"/>
          <p:cNvSpPr txBox="1">
            <a:spLocks noChangeArrowheads="1"/>
          </p:cNvSpPr>
          <p:nvPr/>
        </p:nvSpPr>
        <p:spPr bwMode="auto">
          <a:xfrm rot="16200000">
            <a:off x="3117524" y="1217816"/>
            <a:ext cx="1500732" cy="40011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Start </a:t>
            </a:r>
            <a:r>
              <a:rPr lang="en-GB" sz="1000" dirty="0" err="1" smtClean="0">
                <a:solidFill>
                  <a:srgbClr val="000000"/>
                </a:solidFill>
              </a:rPr>
              <a:t>Internationational</a:t>
            </a:r>
            <a:r>
              <a:rPr lang="en-GB" sz="1000" dirty="0" smtClean="0">
                <a:solidFill>
                  <a:srgbClr val="000000"/>
                </a:solidFill>
              </a:rPr>
              <a:t> </a:t>
            </a:r>
            <a:br>
              <a:rPr lang="en-GB" sz="1000" dirty="0" smtClean="0">
                <a:solidFill>
                  <a:srgbClr val="000000"/>
                </a:solidFill>
              </a:rPr>
            </a:br>
            <a:r>
              <a:rPr lang="en-GB" sz="1000" dirty="0" smtClean="0">
                <a:solidFill>
                  <a:srgbClr val="000000"/>
                </a:solidFill>
              </a:rPr>
              <a:t>Sales</a:t>
            </a:r>
          </a:p>
        </p:txBody>
      </p:sp>
      <p:sp>
        <p:nvSpPr>
          <p:cNvPr id="62" name="Text Box 12"/>
          <p:cNvSpPr txBox="1">
            <a:spLocks noChangeArrowheads="1"/>
          </p:cNvSpPr>
          <p:nvPr/>
        </p:nvSpPr>
        <p:spPr bwMode="auto">
          <a:xfrm rot="16200000">
            <a:off x="4305794" y="1635954"/>
            <a:ext cx="617477" cy="2462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smtClean="0">
                <a:solidFill>
                  <a:srgbClr val="000000"/>
                </a:solidFill>
              </a:rPr>
              <a:t>Telenor</a:t>
            </a:r>
            <a:endParaRPr lang="en-GB" sz="1000">
              <a:solidFill>
                <a:srgbClr val="000000"/>
              </a:solidFill>
            </a:endParaRPr>
          </a:p>
        </p:txBody>
      </p:sp>
      <p:sp>
        <p:nvSpPr>
          <p:cNvPr id="63" name="Text Box 13"/>
          <p:cNvSpPr txBox="1">
            <a:spLocks noChangeArrowheads="1"/>
          </p:cNvSpPr>
          <p:nvPr/>
        </p:nvSpPr>
        <p:spPr bwMode="auto">
          <a:xfrm rot="16200000">
            <a:off x="4820359" y="1711424"/>
            <a:ext cx="431528" cy="2462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9/11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64" name="Text Box 23"/>
          <p:cNvSpPr txBox="1">
            <a:spLocks noChangeArrowheads="1"/>
          </p:cNvSpPr>
          <p:nvPr/>
        </p:nvSpPr>
        <p:spPr bwMode="auto">
          <a:xfrm rot="16200000">
            <a:off x="4728874" y="1275942"/>
            <a:ext cx="1476686" cy="2462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FAA Command Centre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65" name="Text Box 24"/>
          <p:cNvSpPr txBox="1">
            <a:spLocks noChangeArrowheads="1"/>
          </p:cNvSpPr>
          <p:nvPr/>
        </p:nvSpPr>
        <p:spPr bwMode="auto">
          <a:xfrm rot="16200000">
            <a:off x="5249046" y="1350748"/>
            <a:ext cx="1297150" cy="2462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London MET Police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67" name="Straight Connector 28"/>
          <p:cNvCxnSpPr>
            <a:cxnSpLocks noChangeShapeType="1"/>
          </p:cNvCxnSpPr>
          <p:nvPr/>
        </p:nvCxnSpPr>
        <p:spPr bwMode="auto">
          <a:xfrm flipH="1">
            <a:off x="2659683" y="2056094"/>
            <a:ext cx="794" cy="2066809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68" name="Straight Connector 30"/>
          <p:cNvCxnSpPr>
            <a:cxnSpLocks noChangeShapeType="1"/>
          </p:cNvCxnSpPr>
          <p:nvPr/>
        </p:nvCxnSpPr>
        <p:spPr bwMode="auto">
          <a:xfrm flipH="1">
            <a:off x="3102364" y="2056095"/>
            <a:ext cx="794" cy="1974196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69" name="Straight Connector 32"/>
          <p:cNvCxnSpPr>
            <a:cxnSpLocks noChangeShapeType="1"/>
          </p:cNvCxnSpPr>
          <p:nvPr/>
        </p:nvCxnSpPr>
        <p:spPr bwMode="auto">
          <a:xfrm>
            <a:off x="3545045" y="2033836"/>
            <a:ext cx="0" cy="1930368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70" name="Straight Connector 34"/>
          <p:cNvCxnSpPr>
            <a:cxnSpLocks noChangeShapeType="1"/>
          </p:cNvCxnSpPr>
          <p:nvPr/>
        </p:nvCxnSpPr>
        <p:spPr bwMode="auto">
          <a:xfrm flipH="1">
            <a:off x="3758648" y="2056096"/>
            <a:ext cx="1" cy="1827853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72" name="Straight Connector 38"/>
          <p:cNvCxnSpPr>
            <a:cxnSpLocks noChangeShapeType="1"/>
          </p:cNvCxnSpPr>
          <p:nvPr/>
        </p:nvCxnSpPr>
        <p:spPr bwMode="auto">
          <a:xfrm>
            <a:off x="4614532" y="2056096"/>
            <a:ext cx="0" cy="1225254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73" name="Straight Connector 40"/>
          <p:cNvCxnSpPr>
            <a:cxnSpLocks noChangeShapeType="1"/>
          </p:cNvCxnSpPr>
          <p:nvPr/>
        </p:nvCxnSpPr>
        <p:spPr bwMode="auto">
          <a:xfrm>
            <a:off x="5036122" y="2043177"/>
            <a:ext cx="0" cy="1182308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74" name="Straight Connector 42"/>
          <p:cNvCxnSpPr>
            <a:cxnSpLocks noChangeShapeType="1"/>
          </p:cNvCxnSpPr>
          <p:nvPr/>
        </p:nvCxnSpPr>
        <p:spPr bwMode="auto">
          <a:xfrm>
            <a:off x="5467217" y="2043177"/>
            <a:ext cx="0" cy="1314648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cxnSp>
        <p:nvCxnSpPr>
          <p:cNvPr id="75" name="Straight Connector 44"/>
          <p:cNvCxnSpPr>
            <a:cxnSpLocks noChangeShapeType="1"/>
          </p:cNvCxnSpPr>
          <p:nvPr/>
        </p:nvCxnSpPr>
        <p:spPr bwMode="auto">
          <a:xfrm>
            <a:off x="6312987" y="2033836"/>
            <a:ext cx="0" cy="1016004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76" name="Text Box 24"/>
          <p:cNvSpPr txBox="1">
            <a:spLocks noChangeArrowheads="1"/>
          </p:cNvSpPr>
          <p:nvPr/>
        </p:nvSpPr>
        <p:spPr bwMode="auto">
          <a:xfrm rot="16200000">
            <a:off x="6046728" y="1669347"/>
            <a:ext cx="532518" cy="246221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NASA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77" name="Straight Connector 44"/>
          <p:cNvCxnSpPr>
            <a:cxnSpLocks noChangeShapeType="1"/>
          </p:cNvCxnSpPr>
          <p:nvPr/>
        </p:nvCxnSpPr>
        <p:spPr bwMode="auto">
          <a:xfrm flipH="1">
            <a:off x="5896856" y="2056094"/>
            <a:ext cx="764" cy="1169389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78" name="Text Box 24"/>
          <p:cNvSpPr txBox="1">
            <a:spLocks noChangeArrowheads="1"/>
          </p:cNvSpPr>
          <p:nvPr/>
        </p:nvSpPr>
        <p:spPr bwMode="auto">
          <a:xfrm rot="16200000">
            <a:off x="6526536" y="1455604"/>
            <a:ext cx="907621" cy="400110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Canadian </a:t>
            </a:r>
          </a:p>
          <a:p>
            <a:pPr algn="l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Coast Guard</a:t>
            </a:r>
            <a:endParaRPr lang="en-GB" sz="1000" dirty="0">
              <a:solidFill>
                <a:srgbClr val="000000"/>
              </a:solidFill>
            </a:endParaRPr>
          </a:p>
        </p:txBody>
      </p:sp>
      <p:cxnSp>
        <p:nvCxnSpPr>
          <p:cNvPr id="79" name="Straight Connector 44"/>
          <p:cNvCxnSpPr>
            <a:cxnSpLocks noChangeShapeType="1"/>
          </p:cNvCxnSpPr>
          <p:nvPr/>
        </p:nvCxnSpPr>
        <p:spPr bwMode="auto">
          <a:xfrm flipH="1">
            <a:off x="6979583" y="2026017"/>
            <a:ext cx="762" cy="711471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2" name="TextBox 1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47" name="Straight Connector 28"/>
          <p:cNvCxnSpPr>
            <a:cxnSpLocks noChangeShapeType="1"/>
          </p:cNvCxnSpPr>
          <p:nvPr/>
        </p:nvCxnSpPr>
        <p:spPr bwMode="auto">
          <a:xfrm flipH="1">
            <a:off x="2019821" y="2056096"/>
            <a:ext cx="794" cy="2177400"/>
          </a:xfrm>
          <a:prstGeom prst="line">
            <a:avLst/>
          </a:prstGeom>
          <a:noFill/>
          <a:ln w="12700" algn="ctr">
            <a:solidFill>
              <a:srgbClr val="FF0000"/>
            </a:solidFill>
            <a:round/>
            <a:headEnd/>
            <a:tailEnd/>
          </a:ln>
        </p:spPr>
      </p:cxnSp>
      <p:sp>
        <p:nvSpPr>
          <p:cNvPr id="20" name="TextBox 19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0" y="0"/>
            <a:ext cx="0" cy="0"/>
          </a:xfrm>
          <a:prstGeom prst="rect">
            <a:avLst/>
          </a:prstGeom>
          <a:solidFill>
            <a:srgbClr val="99CCFF"/>
          </a:solidFill>
        </p:spPr>
        <p:txBody>
          <a:bodyPr vert="horz" wrap="square" lIns="90000" tIns="43200" rIns="90000" bIns="43200" rtlCol="0" anchor="ctr" anchorCtr="1">
            <a:noAutofit/>
          </a:bodyPr>
          <a:lstStyle/>
          <a:p>
            <a:pPr marL="0" marR="0" indent="-36000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399"/>
              </a:buClr>
              <a:buSzTx/>
              <a:buFont typeface="Wingdings" pitchFamily="2" charset="2"/>
              <a:buNone/>
              <a:tabLst/>
            </a:pP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93244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GB" dirty="0" smtClean="0"/>
              <a:t>FREQUENTIS Core Competencies</a:t>
            </a: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11562" y="1048082"/>
            <a:ext cx="8309201" cy="4098064"/>
          </a:xfrm>
        </p:spPr>
        <p:txBody>
          <a:bodyPr/>
          <a:lstStyle/>
          <a:p>
            <a:pPr>
              <a:spcBef>
                <a:spcPts val="300"/>
              </a:spcBef>
            </a:pPr>
            <a:r>
              <a:rPr lang="en-GB" sz="1600" dirty="0"/>
              <a:t>Technology Leadership</a:t>
            </a:r>
          </a:p>
          <a:p>
            <a:pPr lvl="1">
              <a:spcBef>
                <a:spcPts val="300"/>
              </a:spcBef>
            </a:pPr>
            <a:r>
              <a:rPr lang="en-GB" sz="1400" dirty="0"/>
              <a:t>We set standards.</a:t>
            </a:r>
          </a:p>
          <a:p>
            <a:pPr>
              <a:spcBef>
                <a:spcPts val="300"/>
              </a:spcBef>
            </a:pPr>
            <a:r>
              <a:rPr lang="en-GB" sz="1600" dirty="0"/>
              <a:t>Project &amp; Program Management </a:t>
            </a:r>
          </a:p>
          <a:p>
            <a:pPr lvl="1">
              <a:spcBef>
                <a:spcPts val="300"/>
              </a:spcBef>
            </a:pPr>
            <a:r>
              <a:rPr lang="en-GB" sz="1400" dirty="0"/>
              <a:t>We deliver on time and in budget.</a:t>
            </a:r>
          </a:p>
          <a:p>
            <a:pPr>
              <a:spcBef>
                <a:spcPts val="300"/>
              </a:spcBef>
            </a:pPr>
            <a:r>
              <a:rPr lang="en-GB" sz="1600" dirty="0"/>
              <a:t>Usability Engineering</a:t>
            </a:r>
          </a:p>
          <a:p>
            <a:pPr lvl="1">
              <a:spcBef>
                <a:spcPts val="300"/>
              </a:spcBef>
            </a:pPr>
            <a:r>
              <a:rPr lang="en-GB" sz="1400" dirty="0"/>
              <a:t>We excel with our domain know how.</a:t>
            </a:r>
          </a:p>
          <a:p>
            <a:pPr>
              <a:spcBef>
                <a:spcPts val="300"/>
              </a:spcBef>
            </a:pPr>
            <a:r>
              <a:rPr lang="en-GB" sz="1600" dirty="0"/>
              <a:t>Integrated Quality &amp; Safety Management</a:t>
            </a:r>
          </a:p>
          <a:p>
            <a:pPr lvl="1">
              <a:spcBef>
                <a:spcPts val="300"/>
              </a:spcBef>
            </a:pPr>
            <a:r>
              <a:rPr lang="en-GB" sz="1400" dirty="0"/>
              <a:t>ISO 9001:2008 at all corporate production facilities</a:t>
            </a:r>
          </a:p>
          <a:p>
            <a:pPr lvl="1">
              <a:spcBef>
                <a:spcPts val="300"/>
              </a:spcBef>
            </a:pPr>
            <a:r>
              <a:rPr lang="en-GB" sz="1400" dirty="0"/>
              <a:t>Development according to standards for safety </a:t>
            </a:r>
            <a:br>
              <a:rPr lang="en-GB" sz="1400" dirty="0"/>
            </a:br>
            <a:r>
              <a:rPr lang="en-GB" sz="1400" dirty="0"/>
              <a:t>critical applications. (DO-278/ED-153, ISO/IEC 12207)</a:t>
            </a:r>
          </a:p>
          <a:p>
            <a:pPr>
              <a:spcBef>
                <a:spcPts val="300"/>
              </a:spcBef>
            </a:pPr>
            <a:r>
              <a:rPr lang="en-GB" sz="1600" dirty="0"/>
              <a:t>Life Cycle Management</a:t>
            </a:r>
          </a:p>
          <a:p>
            <a:pPr lvl="1">
              <a:spcBef>
                <a:spcPts val="300"/>
              </a:spcBef>
            </a:pPr>
            <a:r>
              <a:rPr lang="en-GB" sz="1400" dirty="0"/>
              <a:t>In-field support of our systems for 20+ years</a:t>
            </a:r>
          </a:p>
          <a:p>
            <a:pPr>
              <a:spcBef>
                <a:spcPts val="300"/>
              </a:spcBef>
            </a:pPr>
            <a:endParaRPr lang="en-GB" dirty="0"/>
          </a:p>
          <a:p>
            <a:pPr>
              <a:spcBef>
                <a:spcPts val="300"/>
              </a:spcBef>
            </a:pPr>
            <a:endParaRPr lang="en-GB" dirty="0"/>
          </a:p>
        </p:txBody>
      </p:sp>
      <p:sp>
        <p:nvSpPr>
          <p:cNvPr id="1031" name="Rectangle 25"/>
          <p:cNvSpPr>
            <a:spLocks noChangeArrowheads="1"/>
          </p:cNvSpPr>
          <p:nvPr/>
        </p:nvSpPr>
        <p:spPr bwMode="auto">
          <a:xfrm>
            <a:off x="1011436" y="4777714"/>
            <a:ext cx="7593013" cy="374386"/>
          </a:xfrm>
          <a:prstGeom prst="rect">
            <a:avLst/>
          </a:prstGeom>
          <a:solidFill>
            <a:srgbClr val="99CCFF"/>
          </a:solidFill>
          <a:ln w="50800" algn="ctr">
            <a:solidFill>
              <a:srgbClr val="99CCFF"/>
            </a:solidFill>
            <a:miter lim="800000"/>
            <a:headEnd/>
            <a:tailEnd/>
          </a:ln>
        </p:spPr>
        <p:txBody>
          <a:bodyPr lIns="90488" tIns="44450" rIns="90488" bIns="44450" anchor="ctr"/>
          <a:lstStyle/>
          <a:p>
            <a:pPr marL="450850" indent="-450850" algn="ctr">
              <a:spcBef>
                <a:spcPct val="50000"/>
              </a:spcBef>
              <a:spcAft>
                <a:spcPct val="35000"/>
              </a:spcAft>
              <a:buClr>
                <a:srgbClr val="808080"/>
              </a:buClr>
              <a:buFont typeface="Wingdings" pitchFamily="2" charset="2"/>
              <a:buNone/>
            </a:pPr>
            <a:r>
              <a:rPr lang="en-GB" sz="1600" b="1" dirty="0">
                <a:solidFill>
                  <a:srgbClr val="000000"/>
                </a:solidFill>
              </a:rPr>
              <a:t>We always strive to find </a:t>
            </a:r>
            <a:r>
              <a:rPr lang="en-GB" sz="1600" b="1" dirty="0" smtClean="0">
                <a:solidFill>
                  <a:srgbClr val="000000"/>
                </a:solidFill>
              </a:rPr>
              <a:t>the best solution for our customers.</a:t>
            </a:r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1032" name="Text Box 9"/>
          <p:cNvSpPr txBox="1">
            <a:spLocks noChangeArrowheads="1"/>
          </p:cNvSpPr>
          <p:nvPr/>
        </p:nvSpPr>
        <p:spPr bwMode="auto">
          <a:xfrm>
            <a:off x="7145052" y="1921061"/>
            <a:ext cx="184858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en-GB" sz="800" dirty="0">
                <a:solidFill>
                  <a:srgbClr val="000000"/>
                </a:solidFill>
              </a:rPr>
              <a:t>SESAR Joint Undertaking </a:t>
            </a:r>
            <a:r>
              <a:rPr lang="en-GB" sz="800" dirty="0" smtClean="0">
                <a:solidFill>
                  <a:srgbClr val="000000"/>
                </a:solidFill>
              </a:rPr>
              <a:t>Partner – </a:t>
            </a:r>
            <a:r>
              <a:rPr lang="en-GB" sz="800" dirty="0">
                <a:solidFill>
                  <a:srgbClr val="000000"/>
                </a:solidFill>
              </a:rPr>
              <a:t/>
            </a:r>
            <a:br>
              <a:rPr lang="en-GB" sz="800" dirty="0">
                <a:solidFill>
                  <a:srgbClr val="000000"/>
                </a:solidFill>
              </a:rPr>
            </a:br>
            <a:r>
              <a:rPr lang="en-GB" sz="800" dirty="0">
                <a:solidFill>
                  <a:srgbClr val="000000"/>
                </a:solidFill>
              </a:rPr>
              <a:t>Shaping </a:t>
            </a:r>
            <a:r>
              <a:rPr lang="en-GB" sz="800" dirty="0" smtClean="0">
                <a:solidFill>
                  <a:srgbClr val="000000"/>
                </a:solidFill>
              </a:rPr>
              <a:t>the Future </a:t>
            </a:r>
            <a:r>
              <a:rPr lang="en-GB" sz="800" dirty="0">
                <a:solidFill>
                  <a:srgbClr val="000000"/>
                </a:solidFill>
              </a:rPr>
              <a:t>European </a:t>
            </a:r>
            <a:r>
              <a:rPr lang="en-GB" sz="800" dirty="0" smtClean="0">
                <a:solidFill>
                  <a:srgbClr val="000000"/>
                </a:solidFill>
              </a:rPr>
              <a:t>Sky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3" name="Text Box 10"/>
          <p:cNvSpPr txBox="1">
            <a:spLocks noChangeArrowheads="1"/>
          </p:cNvSpPr>
          <p:nvPr/>
        </p:nvSpPr>
        <p:spPr bwMode="auto">
          <a:xfrm>
            <a:off x="6570759" y="4434603"/>
            <a:ext cx="2465739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en-GB" sz="800" dirty="0">
                <a:solidFill>
                  <a:srgbClr val="000000"/>
                </a:solidFill>
              </a:rPr>
              <a:t>ATCSCC in Herndon / Virginia – FAA </a:t>
            </a:r>
          </a:p>
          <a:p>
            <a:pPr algn="r"/>
            <a:r>
              <a:rPr lang="en-GB" sz="800" dirty="0">
                <a:solidFill>
                  <a:srgbClr val="000000"/>
                </a:solidFill>
              </a:rPr>
              <a:t>Acknowledgment Award for </a:t>
            </a:r>
            <a:r>
              <a:rPr lang="en-GB" sz="800" dirty="0" smtClean="0">
                <a:solidFill>
                  <a:srgbClr val="000000"/>
                </a:solidFill>
              </a:rPr>
              <a:t>User Interface Design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4" name="Text Box 13"/>
          <p:cNvSpPr txBox="1">
            <a:spLocks noChangeArrowheads="1"/>
          </p:cNvSpPr>
          <p:nvPr/>
        </p:nvSpPr>
        <p:spPr bwMode="auto">
          <a:xfrm>
            <a:off x="6444210" y="3177831"/>
            <a:ext cx="2578001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GB" sz="800" dirty="0">
                <a:solidFill>
                  <a:srgbClr val="000000"/>
                </a:solidFill>
              </a:rPr>
              <a:t>UCMP / Royal </a:t>
            </a:r>
            <a:r>
              <a:rPr lang="en-GB" sz="800" dirty="0" err="1">
                <a:solidFill>
                  <a:srgbClr val="000000"/>
                </a:solidFill>
              </a:rPr>
              <a:t>Airforce</a:t>
            </a:r>
            <a:r>
              <a:rPr lang="en-GB" sz="800" dirty="0">
                <a:solidFill>
                  <a:srgbClr val="000000"/>
                </a:solidFill>
              </a:rPr>
              <a:t> </a:t>
            </a:r>
            <a:r>
              <a:rPr lang="en-GB" sz="800" dirty="0" smtClean="0">
                <a:solidFill>
                  <a:srgbClr val="000000"/>
                </a:solidFill>
              </a:rPr>
              <a:t>– </a:t>
            </a:r>
            <a:br>
              <a:rPr lang="en-GB" sz="800" dirty="0" smtClean="0">
                <a:solidFill>
                  <a:srgbClr val="000000"/>
                </a:solidFill>
              </a:rPr>
            </a:br>
            <a:r>
              <a:rPr lang="en-GB" sz="800" dirty="0" smtClean="0">
                <a:solidFill>
                  <a:srgbClr val="000000"/>
                </a:solidFill>
              </a:rPr>
              <a:t> </a:t>
            </a:r>
            <a:r>
              <a:rPr lang="en-GB" sz="800" dirty="0">
                <a:solidFill>
                  <a:srgbClr val="000000"/>
                </a:solidFill>
              </a:rPr>
              <a:t>MCA Award </a:t>
            </a:r>
            <a:r>
              <a:rPr lang="en-GB" sz="800" dirty="0" smtClean="0">
                <a:solidFill>
                  <a:srgbClr val="000000"/>
                </a:solidFill>
              </a:rPr>
              <a:t>for Outstanding Project Management</a:t>
            </a:r>
            <a:endParaRPr lang="en-GB" sz="800" dirty="0">
              <a:solidFill>
                <a:srgbClr val="000000"/>
              </a:solidFill>
            </a:endParaRPr>
          </a:p>
        </p:txBody>
      </p:sp>
      <p:pic>
        <p:nvPicPr>
          <p:cNvPr id="11" name="Picture 22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031575" y="1217001"/>
            <a:ext cx="1078366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02421" y="1048081"/>
            <a:ext cx="1551434" cy="88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5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381930" y="2308221"/>
            <a:ext cx="1568866" cy="873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380312" y="3568362"/>
            <a:ext cx="1551434" cy="849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26297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requentis Product Portfolio</a:t>
            </a:r>
            <a:endParaRPr lang="en-GB" sz="2000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47"/>
          <a:stretch/>
        </p:blipFill>
        <p:spPr bwMode="auto">
          <a:xfrm>
            <a:off x="0" y="915370"/>
            <a:ext cx="7236296" cy="4435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815109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09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7mgbCec0W_G8RNNsXB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ff5A05UWUSxvX.WfhR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ZtGikLAkOglvaoNz.z.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9Uvb8oiUWsklHrW5Q.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RIoXvjBEGVI2NpS0oX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bsJhf4WUmSGwNjSBBJPg"/>
</p:tagLst>
</file>

<file path=ppt/theme/theme1.xml><?xml version="1.0" encoding="utf-8"?>
<a:theme xmlns:a="http://schemas.openxmlformats.org/drawingml/2006/main" name="Vorlage_ProductShow_2012">
  <a:themeElements>
    <a:clrScheme name="Frequentis-Color">
      <a:dk1>
        <a:srgbClr val="000000"/>
      </a:dk1>
      <a:lt1>
        <a:srgbClr val="FFFFFF"/>
      </a:lt1>
      <a:dk2>
        <a:srgbClr val="003399"/>
      </a:dk2>
      <a:lt2>
        <a:srgbClr val="AEDAE6"/>
      </a:lt2>
      <a:accent1>
        <a:srgbClr val="AEB0B2"/>
      </a:accent1>
      <a:accent2>
        <a:srgbClr val="AEAEAE"/>
      </a:accent2>
      <a:accent3>
        <a:srgbClr val="B0B0B0"/>
      </a:accent3>
      <a:accent4>
        <a:srgbClr val="B2B2B2"/>
      </a:accent4>
      <a:accent5>
        <a:srgbClr val="F16422"/>
      </a:accent5>
      <a:accent6>
        <a:srgbClr val="525252"/>
      </a:accent6>
      <a:hlink>
        <a:srgbClr val="6D9EFF"/>
      </a:hlink>
      <a:folHlink>
        <a:srgbClr val="78C2D6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100" b="0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bg1"/>
        </a:solidFill>
        <a:ln w="9525" cap="flat" cmpd="sng" algn="ctr">
          <a:solidFill>
            <a:srgbClr val="003399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0" tIns="0" rIns="0" bIns="0" rtlCol="0">
        <a:spAutoFit/>
      </a:bodyPr>
      <a:lstStyle>
        <a:defPPr marL="0" marR="0" indent="-360000" algn="l" defTabSz="914400" rtl="0" eaLnBrk="1" fontAlgn="base" latinLnBrk="0" hangingPunct="1">
          <a:lnSpc>
            <a:spcPct val="150000"/>
          </a:lnSpc>
          <a:spcBef>
            <a:spcPts val="1000"/>
          </a:spcBef>
          <a:spcAft>
            <a:spcPts val="0"/>
          </a:spcAft>
          <a:buClr>
            <a:srgbClr val="003399"/>
          </a:buClr>
          <a:buSzTx/>
          <a:buFont typeface="Wingdings" pitchFamily="2" charset="2"/>
          <a:buNone/>
          <a:tabLst/>
          <a:defRPr kumimoji="0" sz="2000" b="0" i="0" u="none" strike="noStrike" kern="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_ProductShow_2012</Template>
  <TotalTime>27968</TotalTime>
  <Words>1129</Words>
  <Application>Microsoft Office PowerPoint</Application>
  <PresentationFormat>On-screen Show (16:10)</PresentationFormat>
  <Paragraphs>185</Paragraphs>
  <Slides>25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7" baseType="lpstr">
      <vt:lpstr>Vorlage_ProductShow_2012</vt:lpstr>
      <vt:lpstr>think-cell Slide</vt:lpstr>
      <vt:lpstr>The Smart Way of Managing Aeronautical Information </vt:lpstr>
      <vt:lpstr>smartAIM Architecture Overview</vt:lpstr>
      <vt:lpstr>Who is Frequentis</vt:lpstr>
      <vt:lpstr>More than 65 years of innovation &amp; expertise in mission critical applications</vt:lpstr>
      <vt:lpstr>Company Overview   Frequentis Group 2013 preliminary figures</vt:lpstr>
      <vt:lpstr>FREQUENTIS Group</vt:lpstr>
      <vt:lpstr>Development Operating Performance &amp; Employees</vt:lpstr>
      <vt:lpstr>FREQUENTIS Core Competencies</vt:lpstr>
      <vt:lpstr>Frequentis Product Portfolio</vt:lpstr>
      <vt:lpstr>Customer Satisfaction</vt:lpstr>
      <vt:lpstr>Worldwide References</vt:lpstr>
      <vt:lpstr>Frequentis and AIM</vt:lpstr>
      <vt:lpstr>Frequentis and EAD</vt:lpstr>
      <vt:lpstr>The Frequentis AIM Framework</vt:lpstr>
      <vt:lpstr>The Frequentis AIM Framework</vt:lpstr>
      <vt:lpstr>The Frequentis AIM Framework</vt:lpstr>
      <vt:lpstr>Highlights</vt:lpstr>
      <vt:lpstr>Highlights</vt:lpstr>
      <vt:lpstr>Global smartAIM</vt:lpstr>
      <vt:lpstr>smartAIM Functional blocks</vt:lpstr>
      <vt:lpstr>Short Term Information Management</vt:lpstr>
      <vt:lpstr>Long Term Information Management</vt:lpstr>
      <vt:lpstr>Publications</vt:lpstr>
      <vt:lpstr>Workflow Management – Flow automation</vt:lpstr>
      <vt:lpstr>Messaging</vt:lpstr>
    </vt:vector>
  </TitlesOfParts>
  <Company>Frequentis A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REQUENTIS – for a safer world</dc:title>
  <dc:creator>Manfred Aigner</dc:creator>
  <cp:lastModifiedBy>Plater, Debra CTR (FAA)</cp:lastModifiedBy>
  <cp:revision>130</cp:revision>
  <cp:lastPrinted>2003-11-07T08:56:42Z</cp:lastPrinted>
  <dcterms:created xsi:type="dcterms:W3CDTF">2012-09-07T17:32:35Z</dcterms:created>
  <dcterms:modified xsi:type="dcterms:W3CDTF">2014-08-26T15:49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RQ_Footer_AddIn_FooterLanguage">
    <vt:i4>0</vt:i4>
  </property>
  <property fmtid="{D5CDD505-2E9C-101B-9397-08002B2CF9AE}" pid="3" name="FRQ_Footer_AddIn_IncludeCopyright">
    <vt:bool>true</vt:bool>
  </property>
  <property fmtid="{D5CDD505-2E9C-101B-9397-08002B2CF9AE}" pid="4" name="FRQ_Footer_AddIn_PageNumbering">
    <vt:i4>1</vt:i4>
  </property>
  <property fmtid="{D5CDD505-2E9C-101B-9397-08002B2CF9AE}" pid="5" name="FRQ_Footer_AddIn_CustomAuthor">
    <vt:lpwstr>Hannes Brunner</vt:lpwstr>
  </property>
  <property fmtid="{D5CDD505-2E9C-101B-9397-08002B2CF9AE}" pid="6" name="FRQ_Footer_AddIn_DateFormat">
    <vt:i4>0</vt:i4>
  </property>
  <property fmtid="{D5CDD505-2E9C-101B-9397-08002B2CF9AE}" pid="7" name="FRQ_Footer_AddIn_PresentationDate">
    <vt:filetime>2013-08-11T22:00:00Z</vt:filetime>
  </property>
  <property fmtid="{D5CDD505-2E9C-101B-9397-08002B2CF9AE}" pid="8" name="FRQ_Footer_AddIn_IsDraft">
    <vt:bool>false</vt:bool>
  </property>
  <property fmtid="{D5CDD505-2E9C-101B-9397-08002B2CF9AE}" pid="9" name="FRQ_Footer_AddIn_IsConfidential">
    <vt:bool>true</vt:bool>
  </property>
  <property fmtid="{D5CDD505-2E9C-101B-9397-08002B2CF9AE}" pid="10" name="FRQ_Footer_AddIn_AskedOnSave">
    <vt:bool>true</vt:bool>
  </property>
  <property fmtid="{D5CDD505-2E9C-101B-9397-08002B2CF9AE}" pid="11" name="FRQ_Footer_AddIn_DoAskOnEverySave">
    <vt:bool>false</vt:bool>
  </property>
  <property fmtid="{D5CDD505-2E9C-101B-9397-08002B2CF9AE}" pid="12" name="FRQ_Footer_AddIn_IsFRQDocument">
    <vt:bool>true</vt:bool>
  </property>
</Properties>
</file>